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6" r:id="rId1"/>
    <p:sldMasterId id="2147487382" r:id="rId2"/>
  </p:sldMasterIdLst>
  <p:notesMasterIdLst>
    <p:notesMasterId r:id="rId43"/>
  </p:notesMasterIdLst>
  <p:sldIdLst>
    <p:sldId id="280" r:id="rId3"/>
    <p:sldId id="283" r:id="rId4"/>
    <p:sldId id="804" r:id="rId5"/>
    <p:sldId id="712" r:id="rId6"/>
    <p:sldId id="713" r:id="rId7"/>
    <p:sldId id="751" r:id="rId8"/>
    <p:sldId id="763" r:id="rId9"/>
    <p:sldId id="762" r:id="rId10"/>
    <p:sldId id="761" r:id="rId11"/>
    <p:sldId id="758" r:id="rId12"/>
    <p:sldId id="759" r:id="rId13"/>
    <p:sldId id="760" r:id="rId14"/>
    <p:sldId id="752" r:id="rId15"/>
    <p:sldId id="702" r:id="rId16"/>
    <p:sldId id="779" r:id="rId17"/>
    <p:sldId id="786" r:id="rId18"/>
    <p:sldId id="775" r:id="rId19"/>
    <p:sldId id="771" r:id="rId20"/>
    <p:sldId id="776" r:id="rId21"/>
    <p:sldId id="778" r:id="rId22"/>
    <p:sldId id="777" r:id="rId23"/>
    <p:sldId id="774" r:id="rId24"/>
    <p:sldId id="769" r:id="rId25"/>
    <p:sldId id="780" r:id="rId26"/>
    <p:sldId id="768" r:id="rId27"/>
    <p:sldId id="783" r:id="rId28"/>
    <p:sldId id="767" r:id="rId29"/>
    <p:sldId id="781" r:id="rId30"/>
    <p:sldId id="766" r:id="rId31"/>
    <p:sldId id="782" r:id="rId32"/>
    <p:sldId id="787" r:id="rId33"/>
    <p:sldId id="765" r:id="rId34"/>
    <p:sldId id="772" r:id="rId35"/>
    <p:sldId id="785" r:id="rId36"/>
    <p:sldId id="562" r:id="rId37"/>
    <p:sldId id="690" r:id="rId38"/>
    <p:sldId id="736" r:id="rId39"/>
    <p:sldId id="773" r:id="rId40"/>
    <p:sldId id="750" r:id="rId41"/>
    <p:sldId id="32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B03D"/>
    <a:srgbClr val="000000"/>
    <a:srgbClr val="FDEAEE"/>
    <a:srgbClr val="E7E9EE"/>
    <a:srgbClr val="F5668F"/>
    <a:srgbClr val="7030A0"/>
    <a:srgbClr val="D47FA1"/>
    <a:srgbClr val="4AB1B4"/>
    <a:srgbClr val="F9C0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08D60B-BCCB-FC71-A764-6DA2F3D1F847}" v="819" dt="2024-01-08T20:28:16.880"/>
    <p1510:client id="{0341ED96-5143-9562-5248-833DF36573A1}" v="1" dt="2023-10-23T23:48:58.023"/>
    <p1510:client id="{11980D98-74D1-71E7-E86A-19E64303BD27}" v="153" dt="2023-10-30T16:12:53.918"/>
    <p1510:client id="{1D788AEF-8DA4-9FDC-F8F6-781996136A25}" v="1" dt="2023-11-20T17:20:03.301"/>
    <p1510:client id="{22D2D811-4E65-4C88-896C-E87684E0524E}" v="158" dt="2023-10-27T19:12:45.418"/>
    <p1510:client id="{27D417B1-AC1D-5613-774C-09BCD51B442A}" v="182" dt="2023-11-20T15:57:10.100"/>
    <p1510:client id="{2D3E1CBF-0F08-92B9-6543-9FE5E77E56E9}" v="418" dt="2023-10-28T14:57:28.029"/>
    <p1510:client id="{2F9B0802-2085-E0B0-3887-F6AEBA41C785}" v="19" dt="2023-10-27T20:01:53.166"/>
    <p1510:client id="{300BD813-CD9C-8649-0637-C0ACE24151DD}" v="50" dt="2023-10-26T17:23:46.185"/>
    <p1510:client id="{305AC9D0-E55A-2A1E-F2E7-EBEA3644D9AC}" v="84" dt="2023-10-24T16:00:52.345"/>
    <p1510:client id="{316D5976-A92B-4DA1-B7A8-34F7AEF9B15D}" v="4" dt="2023-10-25T16:12:34.060"/>
    <p1510:client id="{35DF06BD-25AA-054F-4D8F-840FED1FA1E6}" v="4" dt="2023-10-31T02:20:39.446"/>
    <p1510:client id="{36AFF060-5319-E6D5-0957-513AFAA6A2E5}" v="48" dt="2023-10-24T18:55:21.243"/>
    <p1510:client id="{3A3E4FEE-6F9B-7EC3-B167-3C31BBE96824}" v="665" dt="2023-10-31T16:46:24.892"/>
    <p1510:client id="{3E81E0CF-E582-4D57-5132-0B6C13973CF0}" v="394" dt="2023-12-28T20:48:20.239"/>
    <p1510:client id="{4159E2D1-1878-F778-C779-F53B58D257B9}" v="40" dt="2023-10-27T17:39:07.217"/>
    <p1510:client id="{4F909934-BF80-9406-F823-1BE12A003AA4}" v="15" dt="2023-11-20T15:22:24.918"/>
    <p1510:client id="{524F6783-CF9C-A7C1-D142-27E8864BC3CB}" v="52" dt="2023-10-24T02:49:43.199"/>
    <p1510:client id="{525C70A3-2AD6-57EA-9F7E-A6FC0841DEBD}" v="24" dt="2023-10-23T23:00:26.391"/>
    <p1510:client id="{5DC65600-F3C9-4205-B138-3708EB0A1C1D}" v="1" dt="2023-05-09T18:50:49.614"/>
    <p1510:client id="{61DCECB8-FCC4-463F-180A-DE94BEA715D4}" v="482" dt="2023-10-30T22:49:41.685"/>
    <p1510:client id="{6299E2EC-AA5F-793A-628C-EBCF8BF5D2B0}" v="2" dt="2023-11-20T14:40:33.879"/>
    <p1510:client id="{64CA3CFC-DFB9-4EB2-185A-94BBCF197F69}" v="12" dt="2023-10-31T18:53:06.815"/>
    <p1510:client id="{6E7D2AD5-DB8B-40D0-4266-03B609A243B6}" v="13" dt="2024-01-09T16:18:29.383"/>
    <p1510:client id="{6F4BA6F9-4A5A-3B13-85C3-6DB0B61CBC00}" v="2882" dt="2023-10-24T15:58:08.213"/>
    <p1510:client id="{782B053E-75E5-959C-8BAD-C5B3CB312E1F}" v="9" dt="2023-10-27T17:32:56.380"/>
    <p1510:client id="{8024C570-7E9A-022B-CE90-C0FD861720C1}" v="843" dt="2023-10-23T23:03:36.862"/>
    <p1510:client id="{8544FFE2-8133-585B-66CC-2C8177C23087}" v="372" dt="2023-11-18T01:37:30.204"/>
    <p1510:client id="{85CD7F39-8F26-7081-E17F-9CFE5E103D63}" v="54" dt="2023-10-24T19:03:39.508"/>
    <p1510:client id="{8E3BEBCA-AD6A-76DA-B8D3-33301DA82F27}" v="45" dt="2023-10-24T18:26:04.342"/>
    <p1510:client id="{8E54177A-FEA1-170D-0EA8-ABD6FF4ACD90}" v="42" dt="2023-10-30T19:44:29.502"/>
    <p1510:client id="{9570DE12-7482-A365-A3C2-E94E5026C97C}" v="21" dt="2023-11-17T16:55:40.336"/>
    <p1510:client id="{96B049F1-23A1-EFBD-700B-2889CC878206}" v="52" dt="2023-10-31T04:45:51.889"/>
    <p1510:client id="{9DE0ADE9-A0A8-D2EA-1EF2-AD3C089DDA7A}" v="252" dt="2023-10-19T17:41:58.437"/>
    <p1510:client id="{9EA480BD-2ABC-0E67-CCB3-672E9005EA21}" v="92" dt="2023-10-31T18:53:54.682"/>
    <p1510:client id="{AC5E249F-4AD8-EC7C-FB2F-902F01AC2000}" v="515" dt="2023-10-27T16:29:18.072"/>
    <p1510:client id="{AFE245F6-AF84-51BF-AB4C-88F7188B99E6}" v="85" dt="2023-10-31T20:15:08.574"/>
    <p1510:client id="{B4964270-B086-4309-6459-65EA28D1CB38}" v="3" dt="2023-10-26T06:44:01.652"/>
    <p1510:client id="{B6F32D0F-7EF8-C22A-D4AE-933B4E9674EC}" v="235" dt="2023-10-24T04:39:00.705"/>
    <p1510:client id="{BC047B72-8F18-01C2-FA60-A38A99380270}" v="753" dt="2023-10-31T04:33:13.284"/>
    <p1510:client id="{BFC87AA7-C8F9-9EFC-19DD-EB23F26608F3}" v="9" dt="2023-11-16T22:57:07.054"/>
    <p1510:client id="{C3552A06-5909-6D3B-9B48-7F6146D07F3D}" v="154" dt="2023-10-30T19:52:09.301"/>
    <p1510:client id="{C766F19B-0830-AB8B-3618-23EF0AC64A24}" v="68" dt="2023-10-30T15:49:33.394"/>
    <p1510:client id="{C93D31B3-2B8C-DAAF-7090-3A2197BCB065}" v="274" dt="2023-10-27T21:32:15.542"/>
    <p1510:client id="{D053432C-5284-0617-FAB1-59D94F6E44F4}" v="1150" dt="2024-01-11T22:40:38.385"/>
    <p1510:client id="{D1FD5983-AA3B-9DE6-CECC-8854B06948B5}" v="35" dt="2023-11-15T18:35:58.840"/>
    <p1510:client id="{DC570ED0-804E-A0E2-5D93-D510896DFB64}" v="865" dt="2023-10-24T14:25:12.957"/>
    <p1510:client id="{EEF5ACAF-3680-7262-A628-DF1FDA3B77FA}" v="4" dt="2023-12-11T13:04:46.745"/>
    <p1510:client id="{F448B036-0349-8976-DAC4-88BE6A4E488E}" v="457" dt="2023-11-20T05:00:10.909"/>
    <p1510:client id="{F9F8F9CD-504E-7117-C6BD-BB41440E79C4}" v="65" dt="2023-12-27T21:55:04.729"/>
    <p1510:client id="{FC194283-EEC6-0521-D05D-577D27A78776}" v="273" dt="2023-10-30T20:28:43.602"/>
    <p1510:client id="{FFAD42E9-C519-11DF-E299-D524098D897E}" v="54" dt="2023-10-24T02:47:59.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75201"/>
  </p:normalViewPr>
  <p:slideViewPr>
    <p:cSldViewPr snapToGrid="0">
      <p:cViewPr varScale="1">
        <p:scale>
          <a:sx n="79" d="100"/>
          <a:sy n="79" d="100"/>
        </p:scale>
        <p:origin x="1856"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ena Lida Surenian" userId="S::als0813@ads.northwestern.edu::e2fd0e4e-6417-49b0-ab16-0ba26a1719f0" providerId="AD" clId="Web-{C3552A06-5909-6D3B-9B48-7F6146D07F3D}"/>
    <pc:docChg chg="addSld modSld sldOrd">
      <pc:chgData name="Aleena Lida Surenian" userId="S::als0813@ads.northwestern.edu::e2fd0e4e-6417-49b0-ab16-0ba26a1719f0" providerId="AD" clId="Web-{C3552A06-5909-6D3B-9B48-7F6146D07F3D}" dt="2023-10-30T19:52:03.786" v="107" actId="20577"/>
      <pc:docMkLst>
        <pc:docMk/>
      </pc:docMkLst>
      <pc:sldChg chg="modSp addCm">
        <pc:chgData name="Aleena Lida Surenian" userId="S::als0813@ads.northwestern.edu::e2fd0e4e-6417-49b0-ab16-0ba26a1719f0" providerId="AD" clId="Web-{C3552A06-5909-6D3B-9B48-7F6146D07F3D}" dt="2023-10-30T19:15:11.279" v="12" actId="1076"/>
        <pc:sldMkLst>
          <pc:docMk/>
          <pc:sldMk cId="4044691067" sldId="283"/>
        </pc:sldMkLst>
        <pc:spChg chg="mod">
          <ac:chgData name="Aleena Lida Surenian" userId="S::als0813@ads.northwestern.edu::e2fd0e4e-6417-49b0-ab16-0ba26a1719f0" providerId="AD" clId="Web-{C3552A06-5909-6D3B-9B48-7F6146D07F3D}" dt="2023-10-30T19:15:06.685" v="11" actId="1076"/>
          <ac:spMkLst>
            <pc:docMk/>
            <pc:sldMk cId="4044691067" sldId="283"/>
            <ac:spMk id="2" creationId="{00000000-0000-0000-0000-000000000000}"/>
          </ac:spMkLst>
        </pc:spChg>
        <pc:spChg chg="mod">
          <ac:chgData name="Aleena Lida Surenian" userId="S::als0813@ads.northwestern.edu::e2fd0e4e-6417-49b0-ab16-0ba26a1719f0" providerId="AD" clId="Web-{C3552A06-5909-6D3B-9B48-7F6146D07F3D}" dt="2023-10-30T19:15:11.279" v="12" actId="1076"/>
          <ac:spMkLst>
            <pc:docMk/>
            <pc:sldMk cId="4044691067" sldId="283"/>
            <ac:spMk id="3" creationId="{00000000-0000-0000-0000-000000000000}"/>
          </ac:spMkLst>
        </pc:spChg>
        <pc:spChg chg="mod">
          <ac:chgData name="Aleena Lida Surenian" userId="S::als0813@ads.northwestern.edu::e2fd0e4e-6417-49b0-ab16-0ba26a1719f0" providerId="AD" clId="Web-{C3552A06-5909-6D3B-9B48-7F6146D07F3D}" dt="2023-10-30T19:15:02.420" v="10" actId="14100"/>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add">
              <pc226:chgData name="Aleena Lida Surenian" userId="S::als0813@ads.northwestern.edu::e2fd0e4e-6417-49b0-ab16-0ba26a1719f0" providerId="AD" clId="Web-{C3552A06-5909-6D3B-9B48-7F6146D07F3D}" dt="2023-10-30T19:14:00.558" v="0"/>
              <pc2:cmMkLst xmlns:pc2="http://schemas.microsoft.com/office/powerpoint/2019/9/main/command">
                <pc:docMk/>
                <pc:sldMk cId="4044691067" sldId="283"/>
                <pc2:cmMk id="{51D99AE4-D60E-4433-99C8-10E7EA141D41}"/>
              </pc2:cmMkLst>
            </pc226:cmChg>
          </p:ext>
        </pc:extLst>
      </pc:sldChg>
      <pc:sldChg chg="modSp">
        <pc:chgData name="Aleena Lida Surenian" userId="S::als0813@ads.northwestern.edu::e2fd0e4e-6417-49b0-ab16-0ba26a1719f0" providerId="AD" clId="Web-{C3552A06-5909-6D3B-9B48-7F6146D07F3D}" dt="2023-10-30T19:26:16.305" v="23" actId="1076"/>
        <pc:sldMkLst>
          <pc:docMk/>
          <pc:sldMk cId="714682852" sldId="552"/>
        </pc:sldMkLst>
        <pc:spChg chg="mod">
          <ac:chgData name="Aleena Lida Surenian" userId="S::als0813@ads.northwestern.edu::e2fd0e4e-6417-49b0-ab16-0ba26a1719f0" providerId="AD" clId="Web-{C3552A06-5909-6D3B-9B48-7F6146D07F3D}" dt="2023-10-30T19:26:16.305" v="23" actId="1076"/>
          <ac:spMkLst>
            <pc:docMk/>
            <pc:sldMk cId="714682852" sldId="552"/>
            <ac:spMk id="3" creationId="{B5F4F3C7-3634-23BA-9CDD-53123F8398D7}"/>
          </ac:spMkLst>
        </pc:spChg>
      </pc:sldChg>
      <pc:sldChg chg="modSp">
        <pc:chgData name="Aleena Lida Surenian" userId="S::als0813@ads.northwestern.edu::e2fd0e4e-6417-49b0-ab16-0ba26a1719f0" providerId="AD" clId="Web-{C3552A06-5909-6D3B-9B48-7F6146D07F3D}" dt="2023-10-30T19:23:51.737" v="18" actId="20577"/>
        <pc:sldMkLst>
          <pc:docMk/>
          <pc:sldMk cId="1514756035" sldId="556"/>
        </pc:sldMkLst>
        <pc:spChg chg="mod">
          <ac:chgData name="Aleena Lida Surenian" userId="S::als0813@ads.northwestern.edu::e2fd0e4e-6417-49b0-ab16-0ba26a1719f0" providerId="AD" clId="Web-{C3552A06-5909-6D3B-9B48-7F6146D07F3D}" dt="2023-10-30T19:23:51.737" v="18" actId="20577"/>
          <ac:spMkLst>
            <pc:docMk/>
            <pc:sldMk cId="1514756035" sldId="556"/>
            <ac:spMk id="28" creationId="{8C1D734D-3C73-E6F6-D1A8-CF64A5F8112D}"/>
          </ac:spMkLst>
        </pc:spChg>
      </pc:sldChg>
      <pc:sldChg chg="modSp">
        <pc:chgData name="Aleena Lida Surenian" userId="S::als0813@ads.northwestern.edu::e2fd0e4e-6417-49b0-ab16-0ba26a1719f0" providerId="AD" clId="Web-{C3552A06-5909-6D3B-9B48-7F6146D07F3D}" dt="2023-10-30T19:52:03.786" v="107" actId="20577"/>
        <pc:sldMkLst>
          <pc:docMk/>
          <pc:sldMk cId="4283907660" sldId="580"/>
        </pc:sldMkLst>
        <pc:spChg chg="mod">
          <ac:chgData name="Aleena Lida Surenian" userId="S::als0813@ads.northwestern.edu::e2fd0e4e-6417-49b0-ab16-0ba26a1719f0" providerId="AD" clId="Web-{C3552A06-5909-6D3B-9B48-7F6146D07F3D}" dt="2023-10-30T19:52:03.786" v="107" actId="20577"/>
          <ac:spMkLst>
            <pc:docMk/>
            <pc:sldMk cId="4283907660" sldId="580"/>
            <ac:spMk id="68" creationId="{00000000-0000-0000-0000-000000000000}"/>
          </ac:spMkLst>
        </pc:spChg>
      </pc:sldChg>
      <pc:sldChg chg="addSp modSp">
        <pc:chgData name="Aleena Lida Surenian" userId="S::als0813@ads.northwestern.edu::e2fd0e4e-6417-49b0-ab16-0ba26a1719f0" providerId="AD" clId="Web-{C3552A06-5909-6D3B-9B48-7F6146D07F3D}" dt="2023-10-30T19:35:15.325" v="96" actId="1076"/>
        <pc:sldMkLst>
          <pc:docMk/>
          <pc:sldMk cId="3870927286" sldId="583"/>
        </pc:sldMkLst>
        <pc:spChg chg="mod">
          <ac:chgData name="Aleena Lida Surenian" userId="S::als0813@ads.northwestern.edu::e2fd0e4e-6417-49b0-ab16-0ba26a1719f0" providerId="AD" clId="Web-{C3552A06-5909-6D3B-9B48-7F6146D07F3D}" dt="2023-10-30T19:34:35.464" v="92" actId="20577"/>
          <ac:spMkLst>
            <pc:docMk/>
            <pc:sldMk cId="3870927286" sldId="583"/>
            <ac:spMk id="2" creationId="{00000000-0000-0000-0000-000000000000}"/>
          </ac:spMkLst>
        </pc:spChg>
        <pc:spChg chg="mod">
          <ac:chgData name="Aleena Lida Surenian" userId="S::als0813@ads.northwestern.edu::e2fd0e4e-6417-49b0-ab16-0ba26a1719f0" providerId="AD" clId="Web-{C3552A06-5909-6D3B-9B48-7F6146D07F3D}" dt="2023-10-30T19:33:12.274" v="60" actId="20577"/>
          <ac:spMkLst>
            <pc:docMk/>
            <pc:sldMk cId="3870927286" sldId="583"/>
            <ac:spMk id="12" creationId="{00000000-0000-0000-0000-000000000000}"/>
          </ac:spMkLst>
        </pc:spChg>
        <pc:spChg chg="mod">
          <ac:chgData name="Aleena Lida Surenian" userId="S::als0813@ads.northwestern.edu::e2fd0e4e-6417-49b0-ab16-0ba26a1719f0" providerId="AD" clId="Web-{C3552A06-5909-6D3B-9B48-7F6146D07F3D}" dt="2023-10-30T19:33:23.134" v="62" actId="20577"/>
          <ac:spMkLst>
            <pc:docMk/>
            <pc:sldMk cId="3870927286" sldId="583"/>
            <ac:spMk id="27" creationId="{00000000-0000-0000-0000-000000000000}"/>
          </ac:spMkLst>
        </pc:spChg>
        <pc:spChg chg="mod">
          <ac:chgData name="Aleena Lida Surenian" userId="S::als0813@ads.northwestern.edu::e2fd0e4e-6417-49b0-ab16-0ba26a1719f0" providerId="AD" clId="Web-{C3552A06-5909-6D3B-9B48-7F6146D07F3D}" dt="2023-10-30T19:33:39.494" v="65" actId="14100"/>
          <ac:spMkLst>
            <pc:docMk/>
            <pc:sldMk cId="3870927286" sldId="583"/>
            <ac:spMk id="39" creationId="{00000000-0000-0000-0000-000000000000}"/>
          </ac:spMkLst>
        </pc:spChg>
        <pc:picChg chg="add mod">
          <ac:chgData name="Aleena Lida Surenian" userId="S::als0813@ads.northwestern.edu::e2fd0e4e-6417-49b0-ab16-0ba26a1719f0" providerId="AD" clId="Web-{C3552A06-5909-6D3B-9B48-7F6146D07F3D}" dt="2023-10-30T19:35:15.325" v="96" actId="1076"/>
          <ac:picMkLst>
            <pc:docMk/>
            <pc:sldMk cId="3870927286" sldId="583"/>
            <ac:picMk id="18" creationId="{1199796C-BA73-A007-E570-EBC0C69CD679}"/>
          </ac:picMkLst>
        </pc:picChg>
      </pc:sldChg>
      <pc:sldChg chg="modSp">
        <pc:chgData name="Aleena Lida Surenian" userId="S::als0813@ads.northwestern.edu::e2fd0e4e-6417-49b0-ab16-0ba26a1719f0" providerId="AD" clId="Web-{C3552A06-5909-6D3B-9B48-7F6146D07F3D}" dt="2023-10-30T19:44:55.722" v="105" actId="1076"/>
        <pc:sldMkLst>
          <pc:docMk/>
          <pc:sldMk cId="629433230" sldId="591"/>
        </pc:sldMkLst>
        <pc:spChg chg="mod">
          <ac:chgData name="Aleena Lida Surenian" userId="S::als0813@ads.northwestern.edu::e2fd0e4e-6417-49b0-ab16-0ba26a1719f0" providerId="AD" clId="Web-{C3552A06-5909-6D3B-9B48-7F6146D07F3D}" dt="2023-10-30T19:44:50.566" v="104" actId="14100"/>
          <ac:spMkLst>
            <pc:docMk/>
            <pc:sldMk cId="629433230" sldId="591"/>
            <ac:spMk id="24" creationId="{82DED22A-2957-2107-97D2-7694FF88F0A5}"/>
          </ac:spMkLst>
        </pc:spChg>
        <pc:spChg chg="mod">
          <ac:chgData name="Aleena Lida Surenian" userId="S::als0813@ads.northwestern.edu::e2fd0e4e-6417-49b0-ab16-0ba26a1719f0" providerId="AD" clId="Web-{C3552A06-5909-6D3B-9B48-7F6146D07F3D}" dt="2023-10-30T19:44:55.722" v="105" actId="1076"/>
          <ac:spMkLst>
            <pc:docMk/>
            <pc:sldMk cId="629433230" sldId="591"/>
            <ac:spMk id="26" creationId="{7ADA2A22-B85F-E8A9-52B3-7FA1A111EB25}"/>
          </ac:spMkLst>
        </pc:spChg>
      </pc:sldChg>
      <pc:sldChg chg="mod modShow">
        <pc:chgData name="Aleena Lida Surenian" userId="S::als0813@ads.northwestern.edu::e2fd0e4e-6417-49b0-ab16-0ba26a1719f0" providerId="AD" clId="Web-{C3552A06-5909-6D3B-9B48-7F6146D07F3D}" dt="2023-10-30T19:17:10.971" v="14"/>
        <pc:sldMkLst>
          <pc:docMk/>
          <pc:sldMk cId="2628065282" sldId="597"/>
        </pc:sldMkLst>
      </pc:sldChg>
      <pc:sldChg chg="mod modShow">
        <pc:chgData name="Aleena Lida Surenian" userId="S::als0813@ads.northwestern.edu::e2fd0e4e-6417-49b0-ab16-0ba26a1719f0" providerId="AD" clId="Web-{C3552A06-5909-6D3B-9B48-7F6146D07F3D}" dt="2023-10-30T19:16:52.439" v="13"/>
        <pc:sldMkLst>
          <pc:docMk/>
          <pc:sldMk cId="1478149357" sldId="598"/>
        </pc:sldMkLst>
      </pc:sldChg>
      <pc:sldChg chg="modSp">
        <pc:chgData name="Aleena Lida Surenian" userId="S::als0813@ads.northwestern.edu::e2fd0e4e-6417-49b0-ab16-0ba26a1719f0" providerId="AD" clId="Web-{C3552A06-5909-6D3B-9B48-7F6146D07F3D}" dt="2023-10-30T19:19:19.586" v="17"/>
        <pc:sldMkLst>
          <pc:docMk/>
          <pc:sldMk cId="2470795492" sldId="599"/>
        </pc:sldMkLst>
        <pc:spChg chg="mod">
          <ac:chgData name="Aleena Lida Surenian" userId="S::als0813@ads.northwestern.edu::e2fd0e4e-6417-49b0-ab16-0ba26a1719f0" providerId="AD" clId="Web-{C3552A06-5909-6D3B-9B48-7F6146D07F3D}" dt="2023-10-30T19:19:19.586" v="17"/>
          <ac:spMkLst>
            <pc:docMk/>
            <pc:sldMk cId="2470795492" sldId="599"/>
            <ac:spMk id="16386" creationId="{00000000-0000-0000-0000-000000000000}"/>
          </ac:spMkLst>
        </pc:spChg>
      </pc:sldChg>
      <pc:sldChg chg="modSp">
        <pc:chgData name="Aleena Lida Surenian" userId="S::als0813@ads.northwestern.edu::e2fd0e4e-6417-49b0-ab16-0ba26a1719f0" providerId="AD" clId="Web-{C3552A06-5909-6D3B-9B48-7F6146D07F3D}" dt="2023-10-30T19:19:10.882" v="16"/>
        <pc:sldMkLst>
          <pc:docMk/>
          <pc:sldMk cId="2592767400" sldId="600"/>
        </pc:sldMkLst>
        <pc:spChg chg="mod">
          <ac:chgData name="Aleena Lida Surenian" userId="S::als0813@ads.northwestern.edu::e2fd0e4e-6417-49b0-ab16-0ba26a1719f0" providerId="AD" clId="Web-{C3552A06-5909-6D3B-9B48-7F6146D07F3D}" dt="2023-10-30T19:19:10.882" v="16"/>
          <ac:spMkLst>
            <pc:docMk/>
            <pc:sldMk cId="2592767400" sldId="600"/>
            <ac:spMk id="16386" creationId="{00000000-0000-0000-0000-000000000000}"/>
          </ac:spMkLst>
        </pc:spChg>
      </pc:sldChg>
      <pc:sldChg chg="modSp">
        <pc:chgData name="Aleena Lida Surenian" userId="S::als0813@ads.northwestern.edu::e2fd0e4e-6417-49b0-ab16-0ba26a1719f0" providerId="AD" clId="Web-{C3552A06-5909-6D3B-9B48-7F6146D07F3D}" dt="2023-10-30T19:17:40.566" v="15"/>
        <pc:sldMkLst>
          <pc:docMk/>
          <pc:sldMk cId="1011826885" sldId="602"/>
        </pc:sldMkLst>
        <pc:spChg chg="mod">
          <ac:chgData name="Aleena Lida Surenian" userId="S::als0813@ads.northwestern.edu::e2fd0e4e-6417-49b0-ab16-0ba26a1719f0" providerId="AD" clId="Web-{C3552A06-5909-6D3B-9B48-7F6146D07F3D}" dt="2023-10-30T19:17:40.566" v="15"/>
          <ac:spMkLst>
            <pc:docMk/>
            <pc:sldMk cId="1011826885" sldId="602"/>
            <ac:spMk id="16386" creationId="{00000000-0000-0000-0000-000000000000}"/>
          </ac:spMkLst>
        </pc:spChg>
      </pc:sldChg>
      <pc:sldChg chg="ord">
        <pc:chgData name="Aleena Lida Surenian" userId="S::als0813@ads.northwestern.edu::e2fd0e4e-6417-49b0-ab16-0ba26a1719f0" providerId="AD" clId="Web-{C3552A06-5909-6D3B-9B48-7F6146D07F3D}" dt="2023-10-30T19:24:26.644" v="19"/>
        <pc:sldMkLst>
          <pc:docMk/>
          <pc:sldMk cId="3726638559" sldId="616"/>
        </pc:sldMkLst>
      </pc:sldChg>
      <pc:sldChg chg="modSp new">
        <pc:chgData name="Aleena Lida Surenian" userId="S::als0813@ads.northwestern.edu::e2fd0e4e-6417-49b0-ab16-0ba26a1719f0" providerId="AD" clId="Web-{C3552A06-5909-6D3B-9B48-7F6146D07F3D}" dt="2023-10-30T19:29:50.454" v="27" actId="20577"/>
        <pc:sldMkLst>
          <pc:docMk/>
          <pc:sldMk cId="3321596273" sldId="640"/>
        </pc:sldMkLst>
        <pc:spChg chg="mod">
          <ac:chgData name="Aleena Lida Surenian" userId="S::als0813@ads.northwestern.edu::e2fd0e4e-6417-49b0-ab16-0ba26a1719f0" providerId="AD" clId="Web-{C3552A06-5909-6D3B-9B48-7F6146D07F3D}" dt="2023-10-30T19:29:50.454" v="27" actId="20577"/>
          <ac:spMkLst>
            <pc:docMk/>
            <pc:sldMk cId="3321596273" sldId="640"/>
            <ac:spMk id="2" creationId="{ED485DCA-3B68-AC74-53C8-6A271DAAA7B7}"/>
          </ac:spMkLst>
        </pc:spChg>
      </pc:sldChg>
      <pc:sldChg chg="modSp new">
        <pc:chgData name="Aleena Lida Surenian" userId="S::als0813@ads.northwestern.edu::e2fd0e4e-6417-49b0-ab16-0ba26a1719f0" providerId="AD" clId="Web-{C3552A06-5909-6D3B-9B48-7F6146D07F3D}" dt="2023-10-30T19:30:34.611" v="51" actId="20577"/>
        <pc:sldMkLst>
          <pc:docMk/>
          <pc:sldMk cId="2460321206" sldId="641"/>
        </pc:sldMkLst>
        <pc:spChg chg="mod">
          <ac:chgData name="Aleena Lida Surenian" userId="S::als0813@ads.northwestern.edu::e2fd0e4e-6417-49b0-ab16-0ba26a1719f0" providerId="AD" clId="Web-{C3552A06-5909-6D3B-9B48-7F6146D07F3D}" dt="2023-10-30T19:30:34.611" v="51" actId="20577"/>
          <ac:spMkLst>
            <pc:docMk/>
            <pc:sldMk cId="2460321206" sldId="641"/>
            <ac:spMk id="2" creationId="{F341808F-A4FF-102A-993E-7096843D4FE9}"/>
          </ac:spMkLst>
        </pc:spChg>
      </pc:sldChg>
      <pc:sldChg chg="modSp new">
        <pc:chgData name="Aleena Lida Surenian" userId="S::als0813@ads.northwestern.edu::e2fd0e4e-6417-49b0-ab16-0ba26a1719f0" providerId="AD" clId="Web-{C3552A06-5909-6D3B-9B48-7F6146D07F3D}" dt="2023-10-30T19:37:13.486" v="103" actId="20577"/>
        <pc:sldMkLst>
          <pc:docMk/>
          <pc:sldMk cId="113281680" sldId="642"/>
        </pc:sldMkLst>
        <pc:spChg chg="mod">
          <ac:chgData name="Aleena Lida Surenian" userId="S::als0813@ads.northwestern.edu::e2fd0e4e-6417-49b0-ab16-0ba26a1719f0" providerId="AD" clId="Web-{C3552A06-5909-6D3B-9B48-7F6146D07F3D}" dt="2023-10-30T19:37:13.486" v="103" actId="20577"/>
          <ac:spMkLst>
            <pc:docMk/>
            <pc:sldMk cId="113281680" sldId="642"/>
            <ac:spMk id="2" creationId="{F4AFEDD1-1B2F-10C8-9EFB-EFBD0CAB6989}"/>
          </ac:spMkLst>
        </pc:spChg>
      </pc:sldChg>
    </pc:docChg>
  </pc:docChgLst>
  <pc:docChgLst>
    <pc:chgData name="Eileen Fleming Suse" userId="S::efs3844@ads.northwestern.edu::725c94ef-d051-42d7-9d33-8572765d592b" providerId="AD" clId="Web-{305AC9D0-E55A-2A1E-F2E7-EBEA3644D9AC}"/>
    <pc:docChg chg="addSld modSld sldOrd">
      <pc:chgData name="Eileen Fleming Suse" userId="S::efs3844@ads.northwestern.edu::725c94ef-d051-42d7-9d33-8572765d592b" providerId="AD" clId="Web-{305AC9D0-E55A-2A1E-F2E7-EBEA3644D9AC}" dt="2023-10-24T16:00:52.345" v="55" actId="20577"/>
      <pc:docMkLst>
        <pc:docMk/>
      </pc:docMkLst>
      <pc:sldChg chg="modSp">
        <pc:chgData name="Eileen Fleming Suse" userId="S::efs3844@ads.northwestern.edu::725c94ef-d051-42d7-9d33-8572765d592b" providerId="AD" clId="Web-{305AC9D0-E55A-2A1E-F2E7-EBEA3644D9AC}" dt="2023-10-24T14:55:17.582" v="21" actId="20577"/>
        <pc:sldMkLst>
          <pc:docMk/>
          <pc:sldMk cId="1522616096" sldId="555"/>
        </pc:sldMkLst>
        <pc:spChg chg="mod">
          <ac:chgData name="Eileen Fleming Suse" userId="S::efs3844@ads.northwestern.edu::725c94ef-d051-42d7-9d33-8572765d592b" providerId="AD" clId="Web-{305AC9D0-E55A-2A1E-F2E7-EBEA3644D9AC}" dt="2023-10-24T14:55:17.582" v="21" actId="20577"/>
          <ac:spMkLst>
            <pc:docMk/>
            <pc:sldMk cId="1522616096" sldId="555"/>
            <ac:spMk id="4" creationId="{3D49CA6C-78ED-3124-7EE3-BBDDC9988910}"/>
          </ac:spMkLst>
        </pc:spChg>
      </pc:sldChg>
      <pc:sldChg chg="ord">
        <pc:chgData name="Eileen Fleming Suse" userId="S::efs3844@ads.northwestern.edu::725c94ef-d051-42d7-9d33-8572765d592b" providerId="AD" clId="Web-{305AC9D0-E55A-2A1E-F2E7-EBEA3644D9AC}" dt="2023-10-24T14:49:32.836" v="11"/>
        <pc:sldMkLst>
          <pc:docMk/>
          <pc:sldMk cId="773696652" sldId="558"/>
        </pc:sldMkLst>
      </pc:sldChg>
      <pc:sldChg chg="delSp modSp">
        <pc:chgData name="Eileen Fleming Suse" userId="S::efs3844@ads.northwestern.edu::725c94ef-d051-42d7-9d33-8572765d592b" providerId="AD" clId="Web-{305AC9D0-E55A-2A1E-F2E7-EBEA3644D9AC}" dt="2023-10-24T14:58:02.213" v="32" actId="14100"/>
        <pc:sldMkLst>
          <pc:docMk/>
          <pc:sldMk cId="3845418986" sldId="563"/>
        </pc:sldMkLst>
        <pc:spChg chg="del">
          <ac:chgData name="Eileen Fleming Suse" userId="S::efs3844@ads.northwestern.edu::725c94ef-d051-42d7-9d33-8572765d592b" providerId="AD" clId="Web-{305AC9D0-E55A-2A1E-F2E7-EBEA3644D9AC}" dt="2023-10-24T14:42:11.618" v="5"/>
          <ac:spMkLst>
            <pc:docMk/>
            <pc:sldMk cId="3845418986" sldId="563"/>
            <ac:spMk id="30" creationId="{00000000-0000-0000-0000-000000000000}"/>
          </ac:spMkLst>
        </pc:spChg>
        <pc:spChg chg="mod">
          <ac:chgData name="Eileen Fleming Suse" userId="S::efs3844@ads.northwestern.edu::725c94ef-d051-42d7-9d33-8572765d592b" providerId="AD" clId="Web-{305AC9D0-E55A-2A1E-F2E7-EBEA3644D9AC}" dt="2023-10-24T14:58:02.213" v="32" actId="14100"/>
          <ac:spMkLst>
            <pc:docMk/>
            <pc:sldMk cId="3845418986" sldId="563"/>
            <ac:spMk id="31" creationId="{00000000-0000-0000-0000-000000000000}"/>
          </ac:spMkLst>
        </pc:spChg>
        <pc:spChg chg="mod">
          <ac:chgData name="Eileen Fleming Suse" userId="S::efs3844@ads.northwestern.edu::725c94ef-d051-42d7-9d33-8572765d592b" providerId="AD" clId="Web-{305AC9D0-E55A-2A1E-F2E7-EBEA3644D9AC}" dt="2023-10-24T14:57:07.008" v="23"/>
          <ac:spMkLst>
            <pc:docMk/>
            <pc:sldMk cId="3845418986" sldId="563"/>
            <ac:spMk id="39" creationId="{00000000-0000-0000-0000-000000000000}"/>
          </ac:spMkLst>
        </pc:spChg>
        <pc:spChg chg="mod">
          <ac:chgData name="Eileen Fleming Suse" userId="S::efs3844@ads.northwestern.edu::725c94ef-d051-42d7-9d33-8572765d592b" providerId="AD" clId="Web-{305AC9D0-E55A-2A1E-F2E7-EBEA3644D9AC}" dt="2023-10-24T14:11:52.821" v="1" actId="20577"/>
          <ac:spMkLst>
            <pc:docMk/>
            <pc:sldMk cId="3845418986" sldId="563"/>
            <ac:spMk id="45" creationId="{00000000-0000-0000-0000-000000000000}"/>
          </ac:spMkLst>
        </pc:spChg>
        <pc:spChg chg="mod">
          <ac:chgData name="Eileen Fleming Suse" userId="S::efs3844@ads.northwestern.edu::725c94ef-d051-42d7-9d33-8572765d592b" providerId="AD" clId="Web-{305AC9D0-E55A-2A1E-F2E7-EBEA3644D9AC}" dt="2023-10-24T14:46:06.860" v="9" actId="1076"/>
          <ac:spMkLst>
            <pc:docMk/>
            <pc:sldMk cId="3845418986" sldId="563"/>
            <ac:spMk id="46" creationId="{00000000-0000-0000-0000-000000000000}"/>
          </ac:spMkLst>
        </pc:spChg>
      </pc:sldChg>
      <pc:sldChg chg="modSp">
        <pc:chgData name="Eileen Fleming Suse" userId="S::efs3844@ads.northwestern.edu::725c94ef-d051-42d7-9d33-8572765d592b" providerId="AD" clId="Web-{305AC9D0-E55A-2A1E-F2E7-EBEA3644D9AC}" dt="2023-10-24T14:58:28.479" v="33" actId="1076"/>
        <pc:sldMkLst>
          <pc:docMk/>
          <pc:sldMk cId="1536434647" sldId="564"/>
        </pc:sldMkLst>
        <pc:spChg chg="mod">
          <ac:chgData name="Eileen Fleming Suse" userId="S::efs3844@ads.northwestern.edu::725c94ef-d051-42d7-9d33-8572765d592b" providerId="AD" clId="Web-{305AC9D0-E55A-2A1E-F2E7-EBEA3644D9AC}" dt="2023-10-24T14:57:57.791" v="31" actId="14100"/>
          <ac:spMkLst>
            <pc:docMk/>
            <pc:sldMk cId="1536434647" sldId="564"/>
            <ac:spMk id="24" creationId="{00000000-0000-0000-0000-000000000000}"/>
          </ac:spMkLst>
        </pc:spChg>
        <pc:spChg chg="mod">
          <ac:chgData name="Eileen Fleming Suse" userId="S::efs3844@ads.northwestern.edu::725c94ef-d051-42d7-9d33-8572765d592b" providerId="AD" clId="Web-{305AC9D0-E55A-2A1E-F2E7-EBEA3644D9AC}" dt="2023-10-24T14:47:22.066" v="10" actId="1076"/>
          <ac:spMkLst>
            <pc:docMk/>
            <pc:sldMk cId="1536434647" sldId="564"/>
            <ac:spMk id="27" creationId="{00000000-0000-0000-0000-000000000000}"/>
          </ac:spMkLst>
        </pc:spChg>
        <pc:spChg chg="mod">
          <ac:chgData name="Eileen Fleming Suse" userId="S::efs3844@ads.northwestern.edu::725c94ef-d051-42d7-9d33-8572765d592b" providerId="AD" clId="Web-{305AC9D0-E55A-2A1E-F2E7-EBEA3644D9AC}" dt="2023-10-24T14:46:03.360" v="8" actId="1076"/>
          <ac:spMkLst>
            <pc:docMk/>
            <pc:sldMk cId="1536434647" sldId="564"/>
            <ac:spMk id="44" creationId="{00000000-0000-0000-0000-000000000000}"/>
          </ac:spMkLst>
        </pc:spChg>
        <pc:grpChg chg="mod">
          <ac:chgData name="Eileen Fleming Suse" userId="S::efs3844@ads.northwestern.edu::725c94ef-d051-42d7-9d33-8572765d592b" providerId="AD" clId="Web-{305AC9D0-E55A-2A1E-F2E7-EBEA3644D9AC}" dt="2023-10-24T14:58:28.479" v="33" actId="1076"/>
          <ac:grpSpMkLst>
            <pc:docMk/>
            <pc:sldMk cId="1536434647" sldId="564"/>
            <ac:grpSpMk id="2" creationId="{00000000-0000-0000-0000-000000000000}"/>
          </ac:grpSpMkLst>
        </pc:grpChg>
      </pc:sldChg>
      <pc:sldChg chg="modSp">
        <pc:chgData name="Eileen Fleming Suse" userId="S::efs3844@ads.northwestern.edu::725c94ef-d051-42d7-9d33-8572765d592b" providerId="AD" clId="Web-{305AC9D0-E55A-2A1E-F2E7-EBEA3644D9AC}" dt="2023-10-24T14:12:18.463" v="4" actId="20577"/>
        <pc:sldMkLst>
          <pc:docMk/>
          <pc:sldMk cId="3004937174" sldId="565"/>
        </pc:sldMkLst>
        <pc:spChg chg="mod">
          <ac:chgData name="Eileen Fleming Suse" userId="S::efs3844@ads.northwestern.edu::725c94ef-d051-42d7-9d33-8572765d592b" providerId="AD" clId="Web-{305AC9D0-E55A-2A1E-F2E7-EBEA3644D9AC}" dt="2023-10-24T14:12:03.322" v="2" actId="1076"/>
          <ac:spMkLst>
            <pc:docMk/>
            <pc:sldMk cId="3004937174" sldId="565"/>
            <ac:spMk id="38" creationId="{00000000-0000-0000-0000-000000000000}"/>
          </ac:spMkLst>
        </pc:spChg>
        <pc:spChg chg="mod">
          <ac:chgData name="Eileen Fleming Suse" userId="S::efs3844@ads.northwestern.edu::725c94ef-d051-42d7-9d33-8572765d592b" providerId="AD" clId="Web-{305AC9D0-E55A-2A1E-F2E7-EBEA3644D9AC}" dt="2023-10-24T14:12:18.463" v="4" actId="20577"/>
          <ac:spMkLst>
            <pc:docMk/>
            <pc:sldMk cId="3004937174" sldId="565"/>
            <ac:spMk id="41" creationId="{00000000-0000-0000-0000-000000000000}"/>
          </ac:spMkLst>
        </pc:spChg>
      </pc:sldChg>
      <pc:sldChg chg="modSp">
        <pc:chgData name="Eileen Fleming Suse" userId="S::efs3844@ads.northwestern.edu::725c94ef-d051-42d7-9d33-8572765d592b" providerId="AD" clId="Web-{305AC9D0-E55A-2A1E-F2E7-EBEA3644D9AC}" dt="2023-10-24T15:20:09.868" v="39" actId="14100"/>
        <pc:sldMkLst>
          <pc:docMk/>
          <pc:sldMk cId="2564870475" sldId="566"/>
        </pc:sldMkLst>
        <pc:spChg chg="mod">
          <ac:chgData name="Eileen Fleming Suse" userId="S::efs3844@ads.northwestern.edu::725c94ef-d051-42d7-9d33-8572765d592b" providerId="AD" clId="Web-{305AC9D0-E55A-2A1E-F2E7-EBEA3644D9AC}" dt="2023-10-24T15:20:07.305" v="38" actId="14100"/>
          <ac:spMkLst>
            <pc:docMk/>
            <pc:sldMk cId="2564870475" sldId="566"/>
            <ac:spMk id="23" creationId="{78B5A3B7-0107-74A6-42BE-EFADF14BEC3D}"/>
          </ac:spMkLst>
        </pc:spChg>
        <pc:picChg chg="mod">
          <ac:chgData name="Eileen Fleming Suse" userId="S::efs3844@ads.northwestern.edu::725c94ef-d051-42d7-9d33-8572765d592b" providerId="AD" clId="Web-{305AC9D0-E55A-2A1E-F2E7-EBEA3644D9AC}" dt="2023-10-24T15:20:09.868" v="39" actId="14100"/>
          <ac:picMkLst>
            <pc:docMk/>
            <pc:sldMk cId="2564870475" sldId="566"/>
            <ac:picMk id="24" creationId="{BB2CB55F-0790-7175-FF6E-777FF2A900CC}"/>
          </ac:picMkLst>
        </pc:picChg>
      </pc:sldChg>
      <pc:sldChg chg="addSp modSp new ord">
        <pc:chgData name="Eileen Fleming Suse" userId="S::efs3844@ads.northwestern.edu::725c94ef-d051-42d7-9d33-8572765d592b" providerId="AD" clId="Web-{305AC9D0-E55A-2A1E-F2E7-EBEA3644D9AC}" dt="2023-10-24T16:00:52.345" v="55" actId="20577"/>
        <pc:sldMkLst>
          <pc:docMk/>
          <pc:sldMk cId="1415571005" sldId="572"/>
        </pc:sldMkLst>
        <pc:spChg chg="add mod">
          <ac:chgData name="Eileen Fleming Suse" userId="S::efs3844@ads.northwestern.edu::725c94ef-d051-42d7-9d33-8572765d592b" providerId="AD" clId="Web-{305AC9D0-E55A-2A1E-F2E7-EBEA3644D9AC}" dt="2023-10-24T14:57:43.493" v="30" actId="14100"/>
          <ac:spMkLst>
            <pc:docMk/>
            <pc:sldMk cId="1415571005" sldId="572"/>
            <ac:spMk id="3" creationId="{E8766EA8-8D1C-74B1-60F2-6EE8D7D1A899}"/>
          </ac:spMkLst>
        </pc:spChg>
        <pc:spChg chg="add">
          <ac:chgData name="Eileen Fleming Suse" userId="S::efs3844@ads.northwestern.edu::725c94ef-d051-42d7-9d33-8572765d592b" providerId="AD" clId="Web-{305AC9D0-E55A-2A1E-F2E7-EBEA3644D9AC}" dt="2023-10-24T14:57:27.180" v="25"/>
          <ac:spMkLst>
            <pc:docMk/>
            <pc:sldMk cId="1415571005" sldId="572"/>
            <ac:spMk id="5" creationId="{5240BE87-4D13-BF3F-4932-9D8B2973FA85}"/>
          </ac:spMkLst>
        </pc:spChg>
        <pc:spChg chg="add">
          <ac:chgData name="Eileen Fleming Suse" userId="S::efs3844@ads.northwestern.edu::725c94ef-d051-42d7-9d33-8572765d592b" providerId="AD" clId="Web-{305AC9D0-E55A-2A1E-F2E7-EBEA3644D9AC}" dt="2023-10-24T14:57:27.196" v="26"/>
          <ac:spMkLst>
            <pc:docMk/>
            <pc:sldMk cId="1415571005" sldId="572"/>
            <ac:spMk id="7" creationId="{7F9321C2-D073-586B-B5DF-9C86117F7744}"/>
          </ac:spMkLst>
        </pc:spChg>
        <pc:spChg chg="add">
          <ac:chgData name="Eileen Fleming Suse" userId="S::efs3844@ads.northwestern.edu::725c94ef-d051-42d7-9d33-8572765d592b" providerId="AD" clId="Web-{305AC9D0-E55A-2A1E-F2E7-EBEA3644D9AC}" dt="2023-10-24T14:57:27.196" v="27"/>
          <ac:spMkLst>
            <pc:docMk/>
            <pc:sldMk cId="1415571005" sldId="572"/>
            <ac:spMk id="9" creationId="{E7EFA955-A8BB-A26D-68E1-96464B4A257F}"/>
          </ac:spMkLst>
        </pc:spChg>
        <pc:spChg chg="add">
          <ac:chgData name="Eileen Fleming Suse" userId="S::efs3844@ads.northwestern.edu::725c94ef-d051-42d7-9d33-8572765d592b" providerId="AD" clId="Web-{305AC9D0-E55A-2A1E-F2E7-EBEA3644D9AC}" dt="2023-10-24T14:57:27.212" v="28"/>
          <ac:spMkLst>
            <pc:docMk/>
            <pc:sldMk cId="1415571005" sldId="572"/>
            <ac:spMk id="11" creationId="{B192D65E-14E1-EAD3-E7D3-2EE53AA7B5BD}"/>
          </ac:spMkLst>
        </pc:spChg>
        <pc:spChg chg="add">
          <ac:chgData name="Eileen Fleming Suse" userId="S::efs3844@ads.northwestern.edu::725c94ef-d051-42d7-9d33-8572765d592b" providerId="AD" clId="Web-{305AC9D0-E55A-2A1E-F2E7-EBEA3644D9AC}" dt="2023-10-24T14:57:39.181" v="29"/>
          <ac:spMkLst>
            <pc:docMk/>
            <pc:sldMk cId="1415571005" sldId="572"/>
            <ac:spMk id="13" creationId="{6052322E-FB3E-BFB4-5E31-14610EA9827E}"/>
          </ac:spMkLst>
        </pc:spChg>
        <pc:spChg chg="add mod">
          <ac:chgData name="Eileen Fleming Suse" userId="S::efs3844@ads.northwestern.edu::725c94ef-d051-42d7-9d33-8572765d592b" providerId="AD" clId="Web-{305AC9D0-E55A-2A1E-F2E7-EBEA3644D9AC}" dt="2023-10-24T16:00:52.345" v="55" actId="20577"/>
          <ac:spMkLst>
            <pc:docMk/>
            <pc:sldMk cId="1415571005" sldId="572"/>
            <ac:spMk id="14" creationId="{C16CF44D-7798-4583-BFDB-87260C98EA94}"/>
          </ac:spMkLst>
        </pc:spChg>
      </pc:sldChg>
      <pc:sldChg chg="modSp add replId">
        <pc:chgData name="Eileen Fleming Suse" userId="S::efs3844@ads.northwestern.edu::725c94ef-d051-42d7-9d33-8572765d592b" providerId="AD" clId="Web-{305AC9D0-E55A-2A1E-F2E7-EBEA3644D9AC}" dt="2023-10-24T15:14:54.982" v="35" actId="1076"/>
        <pc:sldMkLst>
          <pc:docMk/>
          <pc:sldMk cId="2901982042" sldId="573"/>
        </pc:sldMkLst>
        <pc:spChg chg="mod">
          <ac:chgData name="Eileen Fleming Suse" userId="S::efs3844@ads.northwestern.edu::725c94ef-d051-42d7-9d33-8572765d592b" providerId="AD" clId="Web-{305AC9D0-E55A-2A1E-F2E7-EBEA3644D9AC}" dt="2023-10-24T15:14:54.982" v="35" actId="1076"/>
          <ac:spMkLst>
            <pc:docMk/>
            <pc:sldMk cId="2901982042" sldId="573"/>
            <ac:spMk id="28" creationId="{00000000-0000-0000-0000-000000000000}"/>
          </ac:spMkLst>
        </pc:spChg>
      </pc:sldChg>
    </pc:docChg>
  </pc:docChgLst>
  <pc:docChgLst>
    <pc:chgData name="Eileen Fleming Suse" userId="S::efs3844@ads.northwestern.edu::725c94ef-d051-42d7-9d33-8572765d592b" providerId="AD" clId="Web-{FFAD42E9-C519-11DF-E299-D524098D897E}"/>
    <pc:docChg chg="addSld modSld">
      <pc:chgData name="Eileen Fleming Suse" userId="S::efs3844@ads.northwestern.edu::725c94ef-d051-42d7-9d33-8572765d592b" providerId="AD" clId="Web-{FFAD42E9-C519-11DF-E299-D524098D897E}" dt="2023-10-24T02:47:59.133" v="27" actId="14100"/>
      <pc:docMkLst>
        <pc:docMk/>
      </pc:docMkLst>
      <pc:sldChg chg="add">
        <pc:chgData name="Eileen Fleming Suse" userId="S::efs3844@ads.northwestern.edu::725c94ef-d051-42d7-9d33-8572765d592b" providerId="AD" clId="Web-{FFAD42E9-C519-11DF-E299-D524098D897E}" dt="2023-10-24T02:45:56.550" v="0"/>
        <pc:sldMkLst>
          <pc:docMk/>
          <pc:sldMk cId="3845418986" sldId="563"/>
        </pc:sldMkLst>
      </pc:sldChg>
      <pc:sldChg chg="modSp add">
        <pc:chgData name="Eileen Fleming Suse" userId="S::efs3844@ads.northwestern.edu::725c94ef-d051-42d7-9d33-8572765d592b" providerId="AD" clId="Web-{FFAD42E9-C519-11DF-E299-D524098D897E}" dt="2023-10-24T02:47:04.615" v="20" actId="1076"/>
        <pc:sldMkLst>
          <pc:docMk/>
          <pc:sldMk cId="1536434647" sldId="564"/>
        </pc:sldMkLst>
        <pc:spChg chg="mod">
          <ac:chgData name="Eileen Fleming Suse" userId="S::efs3844@ads.northwestern.edu::725c94ef-d051-42d7-9d33-8572765d592b" providerId="AD" clId="Web-{FFAD42E9-C519-11DF-E299-D524098D897E}" dt="2023-10-24T02:46:24.114" v="5" actId="20577"/>
          <ac:spMkLst>
            <pc:docMk/>
            <pc:sldMk cId="1536434647" sldId="564"/>
            <ac:spMk id="39" creationId="{00000000-0000-0000-0000-000000000000}"/>
          </ac:spMkLst>
        </pc:spChg>
        <pc:spChg chg="mod">
          <ac:chgData name="Eileen Fleming Suse" userId="S::efs3844@ads.northwestern.edu::725c94ef-d051-42d7-9d33-8572765d592b" providerId="AD" clId="Web-{FFAD42E9-C519-11DF-E299-D524098D897E}" dt="2023-10-24T02:46:41.583" v="12" actId="20577"/>
          <ac:spMkLst>
            <pc:docMk/>
            <pc:sldMk cId="1536434647" sldId="564"/>
            <ac:spMk id="41" creationId="{00000000-0000-0000-0000-000000000000}"/>
          </ac:spMkLst>
        </pc:spChg>
        <pc:spChg chg="mod">
          <ac:chgData name="Eileen Fleming Suse" userId="S::efs3844@ads.northwestern.edu::725c94ef-d051-42d7-9d33-8572765d592b" providerId="AD" clId="Web-{FFAD42E9-C519-11DF-E299-D524098D897E}" dt="2023-10-24T02:46:54.552" v="18" actId="20577"/>
          <ac:spMkLst>
            <pc:docMk/>
            <pc:sldMk cId="1536434647" sldId="564"/>
            <ac:spMk id="43" creationId="{00000000-0000-0000-0000-000000000000}"/>
          </ac:spMkLst>
        </pc:spChg>
        <pc:spChg chg="mod">
          <ac:chgData name="Eileen Fleming Suse" userId="S::efs3844@ads.northwestern.edu::725c94ef-d051-42d7-9d33-8572765d592b" providerId="AD" clId="Web-{FFAD42E9-C519-11DF-E299-D524098D897E}" dt="2023-10-24T02:47:04.615" v="20" actId="1076"/>
          <ac:spMkLst>
            <pc:docMk/>
            <pc:sldMk cId="1536434647" sldId="564"/>
            <ac:spMk id="47" creationId="{00000000-0000-0000-0000-000000000000}"/>
          </ac:spMkLst>
        </pc:spChg>
      </pc:sldChg>
      <pc:sldChg chg="modSp add">
        <pc:chgData name="Eileen Fleming Suse" userId="S::efs3844@ads.northwestern.edu::725c94ef-d051-42d7-9d33-8572765d592b" providerId="AD" clId="Web-{FFAD42E9-C519-11DF-E299-D524098D897E}" dt="2023-10-24T02:47:59.133" v="27" actId="14100"/>
        <pc:sldMkLst>
          <pc:docMk/>
          <pc:sldMk cId="3004937174" sldId="565"/>
        </pc:sldMkLst>
        <pc:spChg chg="mod">
          <ac:chgData name="Eileen Fleming Suse" userId="S::efs3844@ads.northwestern.edu::725c94ef-d051-42d7-9d33-8572765d592b" providerId="AD" clId="Web-{FFAD42E9-C519-11DF-E299-D524098D897E}" dt="2023-10-24T02:47:55.679" v="26" actId="1076"/>
          <ac:spMkLst>
            <pc:docMk/>
            <pc:sldMk cId="3004937174" sldId="565"/>
            <ac:spMk id="33" creationId="{00000000-0000-0000-0000-000000000000}"/>
          </ac:spMkLst>
        </pc:spChg>
        <pc:spChg chg="mod">
          <ac:chgData name="Eileen Fleming Suse" userId="S::efs3844@ads.northwestern.edu::725c94ef-d051-42d7-9d33-8572765d592b" providerId="AD" clId="Web-{FFAD42E9-C519-11DF-E299-D524098D897E}" dt="2023-10-24T02:47:59.133" v="27" actId="14100"/>
          <ac:spMkLst>
            <pc:docMk/>
            <pc:sldMk cId="3004937174" sldId="565"/>
            <ac:spMk id="35" creationId="{00000000-0000-0000-0000-000000000000}"/>
          </ac:spMkLst>
        </pc:spChg>
        <pc:spChg chg="mod">
          <ac:chgData name="Eileen Fleming Suse" userId="S::efs3844@ads.northwestern.edu::725c94ef-d051-42d7-9d33-8572765d592b" providerId="AD" clId="Web-{FFAD42E9-C519-11DF-E299-D524098D897E}" dt="2023-10-24T02:47:35.194" v="22" actId="20577"/>
          <ac:spMkLst>
            <pc:docMk/>
            <pc:sldMk cId="3004937174" sldId="565"/>
            <ac:spMk id="37" creationId="{00000000-0000-0000-0000-000000000000}"/>
          </ac:spMkLst>
        </pc:spChg>
        <pc:spChg chg="mod">
          <ac:chgData name="Eileen Fleming Suse" userId="S::efs3844@ads.northwestern.edu::725c94ef-d051-42d7-9d33-8572765d592b" providerId="AD" clId="Web-{FFAD42E9-C519-11DF-E299-D524098D897E}" dt="2023-10-24T02:47:45.913" v="24" actId="20577"/>
          <ac:spMkLst>
            <pc:docMk/>
            <pc:sldMk cId="3004937174" sldId="565"/>
            <ac:spMk id="40" creationId="{00000000-0000-0000-0000-000000000000}"/>
          </ac:spMkLst>
        </pc:spChg>
      </pc:sldChg>
    </pc:docChg>
  </pc:docChgLst>
  <pc:docChgLst>
    <pc:chgData name="Eileen Fleming Suse" userId="S::efs3844@ads.northwestern.edu::725c94ef-d051-42d7-9d33-8572765d592b" providerId="AD" clId="Web-{BFC87AA7-C8F9-9EFC-19DD-EB23F26608F3}"/>
    <pc:docChg chg="modSld">
      <pc:chgData name="Eileen Fleming Suse" userId="S::efs3844@ads.northwestern.edu::725c94ef-d051-42d7-9d33-8572765d592b" providerId="AD" clId="Web-{BFC87AA7-C8F9-9EFC-19DD-EB23F26608F3}" dt="2023-11-16T22:57:07.054" v="22"/>
      <pc:docMkLst>
        <pc:docMk/>
      </pc:docMkLst>
      <pc:sldChg chg="addSp modSp">
        <pc:chgData name="Eileen Fleming Suse" userId="S::efs3844@ads.northwestern.edu::725c94ef-d051-42d7-9d33-8572765d592b" providerId="AD" clId="Web-{BFC87AA7-C8F9-9EFC-19DD-EB23F26608F3}" dt="2023-11-16T22:57:07.054" v="22"/>
        <pc:sldMkLst>
          <pc:docMk/>
          <pc:sldMk cId="3336998141" sldId="681"/>
        </pc:sldMkLst>
        <pc:spChg chg="mod">
          <ac:chgData name="Eileen Fleming Suse" userId="S::efs3844@ads.northwestern.edu::725c94ef-d051-42d7-9d33-8572765d592b" providerId="AD" clId="Web-{BFC87AA7-C8F9-9EFC-19DD-EB23F26608F3}" dt="2023-11-16T22:56:57.851" v="20" actId="14100"/>
          <ac:spMkLst>
            <pc:docMk/>
            <pc:sldMk cId="3336998141" sldId="681"/>
            <ac:spMk id="3" creationId="{00000000-0000-0000-0000-000000000000}"/>
          </ac:spMkLst>
        </pc:spChg>
        <pc:picChg chg="add mod">
          <ac:chgData name="Eileen Fleming Suse" userId="S::efs3844@ads.northwestern.edu::725c94ef-d051-42d7-9d33-8572765d592b" providerId="AD" clId="Web-{BFC87AA7-C8F9-9EFC-19DD-EB23F26608F3}" dt="2023-11-16T22:57:07.054" v="22"/>
          <ac:picMkLst>
            <pc:docMk/>
            <pc:sldMk cId="3336998141" sldId="681"/>
            <ac:picMk id="6" creationId="{46F42E17-0175-F9A2-1E13-137F29CD08FF}"/>
          </ac:picMkLst>
        </pc:picChg>
      </pc:sldChg>
      <pc:sldChg chg="addSp delSp modSp mod setBg">
        <pc:chgData name="Eileen Fleming Suse" userId="S::efs3844@ads.northwestern.edu::725c94ef-d051-42d7-9d33-8572765d592b" providerId="AD" clId="Web-{BFC87AA7-C8F9-9EFC-19DD-EB23F26608F3}" dt="2023-11-16T22:50:39.623" v="3"/>
        <pc:sldMkLst>
          <pc:docMk/>
          <pc:sldMk cId="2646520615" sldId="683"/>
        </pc:sldMkLst>
        <pc:spChg chg="mod">
          <ac:chgData name="Eileen Fleming Suse" userId="S::efs3844@ads.northwestern.edu::725c94ef-d051-42d7-9d33-8572765d592b" providerId="AD" clId="Web-{BFC87AA7-C8F9-9EFC-19DD-EB23F26608F3}" dt="2023-11-16T22:49:21.824" v="1"/>
          <ac:spMkLst>
            <pc:docMk/>
            <pc:sldMk cId="2646520615" sldId="683"/>
            <ac:spMk id="2" creationId="{00000000-0000-0000-0000-000000000000}"/>
          </ac:spMkLst>
        </pc:spChg>
        <pc:spChg chg="del">
          <ac:chgData name="Eileen Fleming Suse" userId="S::efs3844@ads.northwestern.edu::725c94ef-d051-42d7-9d33-8572765d592b" providerId="AD" clId="Web-{BFC87AA7-C8F9-9EFC-19DD-EB23F26608F3}" dt="2023-11-16T22:49:21.824" v="1"/>
          <ac:spMkLst>
            <pc:docMk/>
            <pc:sldMk cId="2646520615" sldId="683"/>
            <ac:spMk id="3" creationId="{00000000-0000-0000-0000-000000000000}"/>
          </ac:spMkLst>
        </pc:spChg>
        <pc:spChg chg="mod ord">
          <ac:chgData name="Eileen Fleming Suse" userId="S::efs3844@ads.northwestern.edu::725c94ef-d051-42d7-9d33-8572765d592b" providerId="AD" clId="Web-{BFC87AA7-C8F9-9EFC-19DD-EB23F26608F3}" dt="2023-11-16T22:49:21.824" v="1"/>
          <ac:spMkLst>
            <pc:docMk/>
            <pc:sldMk cId="2646520615" sldId="683"/>
            <ac:spMk id="4" creationId="{00000000-0000-0000-0000-000000000000}"/>
          </ac:spMkLst>
        </pc:spChg>
        <pc:spChg chg="mod">
          <ac:chgData name="Eileen Fleming Suse" userId="S::efs3844@ads.northwestern.edu::725c94ef-d051-42d7-9d33-8572765d592b" providerId="AD" clId="Web-{BFC87AA7-C8F9-9EFC-19DD-EB23F26608F3}" dt="2023-11-16T22:49:21.824" v="1"/>
          <ac:spMkLst>
            <pc:docMk/>
            <pc:sldMk cId="2646520615" sldId="683"/>
            <ac:spMk id="5" creationId="{00000000-0000-0000-0000-000000000000}"/>
          </ac:spMkLst>
        </pc:spChg>
        <pc:spChg chg="add">
          <ac:chgData name="Eileen Fleming Suse" userId="S::efs3844@ads.northwestern.edu::725c94ef-d051-42d7-9d33-8572765d592b" providerId="AD" clId="Web-{BFC87AA7-C8F9-9EFC-19DD-EB23F26608F3}" dt="2023-11-16T22:49:21.824" v="1"/>
          <ac:spMkLst>
            <pc:docMk/>
            <pc:sldMk cId="2646520615" sldId="683"/>
            <ac:spMk id="11" creationId="{7517A47C-B2E5-4B79-8061-D74B1311AF6E}"/>
          </ac:spMkLst>
        </pc:spChg>
        <pc:spChg chg="add">
          <ac:chgData name="Eileen Fleming Suse" userId="S::efs3844@ads.northwestern.edu::725c94ef-d051-42d7-9d33-8572765d592b" providerId="AD" clId="Web-{BFC87AA7-C8F9-9EFC-19DD-EB23F26608F3}" dt="2023-11-16T22:49:21.824" v="1"/>
          <ac:spMkLst>
            <pc:docMk/>
            <pc:sldMk cId="2646520615" sldId="683"/>
            <ac:spMk id="13" creationId="{C505E780-2083-4CB5-A42A-5E0E2908ECC3}"/>
          </ac:spMkLst>
        </pc:spChg>
        <pc:spChg chg="add">
          <ac:chgData name="Eileen Fleming Suse" userId="S::efs3844@ads.northwestern.edu::725c94ef-d051-42d7-9d33-8572765d592b" providerId="AD" clId="Web-{BFC87AA7-C8F9-9EFC-19DD-EB23F26608F3}" dt="2023-11-16T22:49:21.824" v="1"/>
          <ac:spMkLst>
            <pc:docMk/>
            <pc:sldMk cId="2646520615" sldId="683"/>
            <ac:spMk id="15" creationId="{D2C0AE1C-0118-41AE-8A10-7CDCBF10E96F}"/>
          </ac:spMkLst>
        </pc:spChg>
        <pc:spChg chg="add">
          <ac:chgData name="Eileen Fleming Suse" userId="S::efs3844@ads.northwestern.edu::725c94ef-d051-42d7-9d33-8572765d592b" providerId="AD" clId="Web-{BFC87AA7-C8F9-9EFC-19DD-EB23F26608F3}" dt="2023-11-16T22:49:21.824" v="1"/>
          <ac:spMkLst>
            <pc:docMk/>
            <pc:sldMk cId="2646520615" sldId="683"/>
            <ac:spMk id="17" creationId="{463EEC44-1BA3-44ED-81FC-A644B04B2A44}"/>
          </ac:spMkLst>
        </pc:spChg>
        <pc:graphicFrameChg chg="add modGraphic">
          <ac:chgData name="Eileen Fleming Suse" userId="S::efs3844@ads.northwestern.edu::725c94ef-d051-42d7-9d33-8572765d592b" providerId="AD" clId="Web-{BFC87AA7-C8F9-9EFC-19DD-EB23F26608F3}" dt="2023-11-16T22:50:39.623" v="3"/>
          <ac:graphicFrameMkLst>
            <pc:docMk/>
            <pc:sldMk cId="2646520615" sldId="683"/>
            <ac:graphicFrameMk id="7" creationId="{24D49A4E-BD95-5DF0-35BC-A9758FC2DA7E}"/>
          </ac:graphicFrameMkLst>
        </pc:graphicFrameChg>
      </pc:sldChg>
      <pc:sldChg chg="mod modClrScheme chgLayout">
        <pc:chgData name="Eileen Fleming Suse" userId="S::efs3844@ads.northwestern.edu::725c94ef-d051-42d7-9d33-8572765d592b" providerId="AD" clId="Web-{BFC87AA7-C8F9-9EFC-19DD-EB23F26608F3}" dt="2023-11-16T22:52:55.548" v="4"/>
        <pc:sldMkLst>
          <pc:docMk/>
          <pc:sldMk cId="441543077" sldId="686"/>
        </pc:sldMkLst>
      </pc:sldChg>
      <pc:sldChg chg="addSp delSp modSp mod setBg">
        <pc:chgData name="Eileen Fleming Suse" userId="S::efs3844@ads.northwestern.edu::725c94ef-d051-42d7-9d33-8572765d592b" providerId="AD" clId="Web-{BFC87AA7-C8F9-9EFC-19DD-EB23F26608F3}" dt="2023-11-16T22:56:01.928" v="16" actId="14100"/>
        <pc:sldMkLst>
          <pc:docMk/>
          <pc:sldMk cId="1663322964" sldId="690"/>
        </pc:sldMkLst>
        <pc:spChg chg="mod">
          <ac:chgData name="Eileen Fleming Suse" userId="S::efs3844@ads.northwestern.edu::725c94ef-d051-42d7-9d33-8572765d592b" providerId="AD" clId="Web-{BFC87AA7-C8F9-9EFC-19DD-EB23F26608F3}" dt="2023-11-16T22:55:04.880" v="14"/>
          <ac:spMkLst>
            <pc:docMk/>
            <pc:sldMk cId="1663322964" sldId="690"/>
            <ac:spMk id="2" creationId="{00000000-0000-0000-0000-000000000000}"/>
          </ac:spMkLst>
        </pc:spChg>
        <pc:spChg chg="del">
          <ac:chgData name="Eileen Fleming Suse" userId="S::efs3844@ads.northwestern.edu::725c94ef-d051-42d7-9d33-8572765d592b" providerId="AD" clId="Web-{BFC87AA7-C8F9-9EFC-19DD-EB23F26608F3}" dt="2023-11-16T22:53:54.940" v="5"/>
          <ac:spMkLst>
            <pc:docMk/>
            <pc:sldMk cId="1663322964" sldId="690"/>
            <ac:spMk id="3" creationId="{00000000-0000-0000-0000-000000000000}"/>
          </ac:spMkLst>
        </pc:spChg>
        <pc:spChg chg="mod ord">
          <ac:chgData name="Eileen Fleming Suse" userId="S::efs3844@ads.northwestern.edu::725c94ef-d051-42d7-9d33-8572765d592b" providerId="AD" clId="Web-{BFC87AA7-C8F9-9EFC-19DD-EB23F26608F3}" dt="2023-11-16T22:55:04.880" v="14"/>
          <ac:spMkLst>
            <pc:docMk/>
            <pc:sldMk cId="1663322964" sldId="690"/>
            <ac:spMk id="4" creationId="{00000000-0000-0000-0000-000000000000}"/>
          </ac:spMkLst>
        </pc:spChg>
        <pc:spChg chg="mod">
          <ac:chgData name="Eileen Fleming Suse" userId="S::efs3844@ads.northwestern.edu::725c94ef-d051-42d7-9d33-8572765d592b" providerId="AD" clId="Web-{BFC87AA7-C8F9-9EFC-19DD-EB23F26608F3}" dt="2023-11-16T22:53:54.940" v="5"/>
          <ac:spMkLst>
            <pc:docMk/>
            <pc:sldMk cId="1663322964" sldId="690"/>
            <ac:spMk id="5" creationId="{00000000-0000-0000-0000-000000000000}"/>
          </ac:spMkLst>
        </pc:spChg>
        <pc:spChg chg="add del">
          <ac:chgData name="Eileen Fleming Suse" userId="S::efs3844@ads.northwestern.edu::725c94ef-d051-42d7-9d33-8572765d592b" providerId="AD" clId="Web-{BFC87AA7-C8F9-9EFC-19DD-EB23F26608F3}" dt="2023-11-16T22:55:04.880" v="14"/>
          <ac:spMkLst>
            <pc:docMk/>
            <pc:sldMk cId="1663322964" sldId="690"/>
            <ac:spMk id="11" creationId="{81E1224E-6618-482E-BE87-321A7FC1CDE8}"/>
          </ac:spMkLst>
        </pc:spChg>
        <pc:spChg chg="add del">
          <ac:chgData name="Eileen Fleming Suse" userId="S::efs3844@ads.northwestern.edu::725c94ef-d051-42d7-9d33-8572765d592b" providerId="AD" clId="Web-{BFC87AA7-C8F9-9EFC-19DD-EB23F26608F3}" dt="2023-11-16T22:55:04.880" v="14"/>
          <ac:spMkLst>
            <pc:docMk/>
            <pc:sldMk cId="1663322964" sldId="690"/>
            <ac:spMk id="13" creationId="{066346BE-FDB4-4772-A696-0719490ABD64}"/>
          </ac:spMkLst>
        </pc:spChg>
        <pc:spChg chg="add del">
          <ac:chgData name="Eileen Fleming Suse" userId="S::efs3844@ads.northwestern.edu::725c94ef-d051-42d7-9d33-8572765d592b" providerId="AD" clId="Web-{BFC87AA7-C8F9-9EFC-19DD-EB23F26608F3}" dt="2023-11-16T22:55:04.880" v="14"/>
          <ac:spMkLst>
            <pc:docMk/>
            <pc:sldMk cId="1663322964" sldId="690"/>
            <ac:spMk id="15" creationId="{FB92FFCE-0C90-454E-AA25-D4EE9A6C39C5}"/>
          </ac:spMkLst>
        </pc:spChg>
        <pc:spChg chg="add">
          <ac:chgData name="Eileen Fleming Suse" userId="S::efs3844@ads.northwestern.edu::725c94ef-d051-42d7-9d33-8572765d592b" providerId="AD" clId="Web-{BFC87AA7-C8F9-9EFC-19DD-EB23F26608F3}" dt="2023-11-16T22:55:04.880" v="14"/>
          <ac:spMkLst>
            <pc:docMk/>
            <pc:sldMk cId="1663322964" sldId="690"/>
            <ac:spMk id="21" creationId="{7517A47C-B2E5-4B79-8061-D74B1311AF6E}"/>
          </ac:spMkLst>
        </pc:spChg>
        <pc:spChg chg="add">
          <ac:chgData name="Eileen Fleming Suse" userId="S::efs3844@ads.northwestern.edu::725c94ef-d051-42d7-9d33-8572765d592b" providerId="AD" clId="Web-{BFC87AA7-C8F9-9EFC-19DD-EB23F26608F3}" dt="2023-11-16T22:55:04.880" v="14"/>
          <ac:spMkLst>
            <pc:docMk/>
            <pc:sldMk cId="1663322964" sldId="690"/>
            <ac:spMk id="23" creationId="{C505E780-2083-4CB5-A42A-5E0E2908ECC3}"/>
          </ac:spMkLst>
        </pc:spChg>
        <pc:spChg chg="add">
          <ac:chgData name="Eileen Fleming Suse" userId="S::efs3844@ads.northwestern.edu::725c94ef-d051-42d7-9d33-8572765d592b" providerId="AD" clId="Web-{BFC87AA7-C8F9-9EFC-19DD-EB23F26608F3}" dt="2023-11-16T22:55:04.880" v="14"/>
          <ac:spMkLst>
            <pc:docMk/>
            <pc:sldMk cId="1663322964" sldId="690"/>
            <ac:spMk id="25" creationId="{D2C0AE1C-0118-41AE-8A10-7CDCBF10E96F}"/>
          </ac:spMkLst>
        </pc:spChg>
        <pc:spChg chg="add">
          <ac:chgData name="Eileen Fleming Suse" userId="S::efs3844@ads.northwestern.edu::725c94ef-d051-42d7-9d33-8572765d592b" providerId="AD" clId="Web-{BFC87AA7-C8F9-9EFC-19DD-EB23F26608F3}" dt="2023-11-16T22:55:04.880" v="14"/>
          <ac:spMkLst>
            <pc:docMk/>
            <pc:sldMk cId="1663322964" sldId="690"/>
            <ac:spMk id="27" creationId="{463EEC44-1BA3-44ED-81FC-A644B04B2A44}"/>
          </ac:spMkLst>
        </pc:spChg>
        <pc:graphicFrameChg chg="add del mod modGraphic">
          <ac:chgData name="Eileen Fleming Suse" userId="S::efs3844@ads.northwestern.edu::725c94ef-d051-42d7-9d33-8572765d592b" providerId="AD" clId="Web-{BFC87AA7-C8F9-9EFC-19DD-EB23F26608F3}" dt="2023-11-16T22:55:04.880" v="14"/>
          <ac:graphicFrameMkLst>
            <pc:docMk/>
            <pc:sldMk cId="1663322964" sldId="690"/>
            <ac:graphicFrameMk id="7" creationId="{4F9615E2-B206-CDA3-816A-1D194CA0D210}"/>
          </ac:graphicFrameMkLst>
        </pc:graphicFrameChg>
        <pc:graphicFrameChg chg="add mod">
          <ac:chgData name="Eileen Fleming Suse" userId="S::efs3844@ads.northwestern.edu::725c94ef-d051-42d7-9d33-8572765d592b" providerId="AD" clId="Web-{BFC87AA7-C8F9-9EFC-19DD-EB23F26608F3}" dt="2023-11-16T22:56:01.928" v="16" actId="14100"/>
          <ac:graphicFrameMkLst>
            <pc:docMk/>
            <pc:sldMk cId="1663322964" sldId="690"/>
            <ac:graphicFrameMk id="17" creationId="{9B647FFD-DB92-0E72-0606-A89EC41A7F93}"/>
          </ac:graphicFrameMkLst>
        </pc:graphicFrameChg>
      </pc:sldChg>
      <pc:sldChg chg="addSp modSp mod setBg">
        <pc:chgData name="Eileen Fleming Suse" userId="S::efs3844@ads.northwestern.edu::725c94ef-d051-42d7-9d33-8572765d592b" providerId="AD" clId="Web-{BFC87AA7-C8F9-9EFC-19DD-EB23F26608F3}" dt="2023-11-16T22:48:43.386" v="0"/>
        <pc:sldMkLst>
          <pc:docMk/>
          <pc:sldMk cId="1549218491" sldId="697"/>
        </pc:sldMkLst>
        <pc:spChg chg="mod">
          <ac:chgData name="Eileen Fleming Suse" userId="S::efs3844@ads.northwestern.edu::725c94ef-d051-42d7-9d33-8572765d592b" providerId="AD" clId="Web-{BFC87AA7-C8F9-9EFC-19DD-EB23F26608F3}" dt="2023-11-16T22:48:43.386" v="0"/>
          <ac:spMkLst>
            <pc:docMk/>
            <pc:sldMk cId="1549218491" sldId="697"/>
            <ac:spMk id="2"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4" creationId="{00000000-0000-0000-0000-000000000000}"/>
          </ac:spMkLst>
        </pc:spChg>
        <pc:spChg chg="mod ord">
          <ac:chgData name="Eileen Fleming Suse" userId="S::efs3844@ads.northwestern.edu::725c94ef-d051-42d7-9d33-8572765d592b" providerId="AD" clId="Web-{BFC87AA7-C8F9-9EFC-19DD-EB23F26608F3}" dt="2023-11-16T22:48:43.386" v="0"/>
          <ac:spMkLst>
            <pc:docMk/>
            <pc:sldMk cId="1549218491" sldId="697"/>
            <ac:spMk id="5"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10" creationId="{00000000-0000-0000-0000-000000000000}"/>
          </ac:spMkLst>
        </pc:spChg>
        <pc:spChg chg="add">
          <ac:chgData name="Eileen Fleming Suse" userId="S::efs3844@ads.northwestern.edu::725c94ef-d051-42d7-9d33-8572765d592b" providerId="AD" clId="Web-{BFC87AA7-C8F9-9EFC-19DD-EB23F26608F3}" dt="2023-11-16T22:48:43.386" v="0"/>
          <ac:spMkLst>
            <pc:docMk/>
            <pc:sldMk cId="1549218491" sldId="697"/>
            <ac:spMk id="16" creationId="{73C994B4-9721-4148-9EEC-6793CECDE8DD}"/>
          </ac:spMkLst>
        </pc:spChg>
        <pc:spChg chg="add">
          <ac:chgData name="Eileen Fleming Suse" userId="S::efs3844@ads.northwestern.edu::725c94ef-d051-42d7-9d33-8572765d592b" providerId="AD" clId="Web-{BFC87AA7-C8F9-9EFC-19DD-EB23F26608F3}" dt="2023-11-16T22:48:43.386" v="0"/>
          <ac:spMkLst>
            <pc:docMk/>
            <pc:sldMk cId="1549218491" sldId="697"/>
            <ac:spMk id="18" creationId="{F9D95E49-763A-4886-B038-82F734740554}"/>
          </ac:spMkLst>
        </pc:spChg>
        <pc:spChg chg="add">
          <ac:chgData name="Eileen Fleming Suse" userId="S::efs3844@ads.northwestern.edu::725c94ef-d051-42d7-9d33-8572765d592b" providerId="AD" clId="Web-{BFC87AA7-C8F9-9EFC-19DD-EB23F26608F3}" dt="2023-11-16T22:48:43.386" v="0"/>
          <ac:spMkLst>
            <pc:docMk/>
            <pc:sldMk cId="1549218491" sldId="697"/>
            <ac:spMk id="20" creationId="{9999CF8B-CF36-4D83-8D39-AFC5726036F9}"/>
          </ac:spMkLst>
        </pc:spChg>
        <pc:spChg chg="add">
          <ac:chgData name="Eileen Fleming Suse" userId="S::efs3844@ads.northwestern.edu::725c94ef-d051-42d7-9d33-8572765d592b" providerId="AD" clId="Web-{BFC87AA7-C8F9-9EFC-19DD-EB23F26608F3}" dt="2023-11-16T22:48:43.386" v="0"/>
          <ac:spMkLst>
            <pc:docMk/>
            <pc:sldMk cId="1549218491" sldId="697"/>
            <ac:spMk id="22" creationId="{91F6D5B9-3D1A-4091-825E-F687A58ADD3F}"/>
          </ac:spMkLst>
        </pc:spChg>
        <pc:picChg chg="add">
          <ac:chgData name="Eileen Fleming Suse" userId="S::efs3844@ads.northwestern.edu::725c94ef-d051-42d7-9d33-8572765d592b" providerId="AD" clId="Web-{BFC87AA7-C8F9-9EFC-19DD-EB23F26608F3}" dt="2023-11-16T22:48:43.386" v="0"/>
          <ac:picMkLst>
            <pc:docMk/>
            <pc:sldMk cId="1549218491" sldId="697"/>
            <ac:picMk id="12" creationId="{ADA65492-88D0-2A8E-83EE-B00D4D4CD6D0}"/>
          </ac:picMkLst>
        </pc:picChg>
        <pc:cxnChg chg="add">
          <ac:chgData name="Eileen Fleming Suse" userId="S::efs3844@ads.northwestern.edu::725c94ef-d051-42d7-9d33-8572765d592b" providerId="AD" clId="Web-{BFC87AA7-C8F9-9EFC-19DD-EB23F26608F3}" dt="2023-11-16T22:48:43.386" v="0"/>
          <ac:cxnSpMkLst>
            <pc:docMk/>
            <pc:sldMk cId="1549218491" sldId="697"/>
            <ac:cxnSpMk id="24" creationId="{F085D7B9-E066-4923-8CB7-294BF306296A}"/>
          </ac:cxnSpMkLst>
        </pc:cxnChg>
        <pc:cxnChg chg="add">
          <ac:chgData name="Eileen Fleming Suse" userId="S::efs3844@ads.northwestern.edu::725c94ef-d051-42d7-9d33-8572765d592b" providerId="AD" clId="Web-{BFC87AA7-C8F9-9EFC-19DD-EB23F26608F3}" dt="2023-11-16T22:48:43.386" v="0"/>
          <ac:cxnSpMkLst>
            <pc:docMk/>
            <pc:sldMk cId="1549218491" sldId="697"/>
            <ac:cxnSpMk id="26" creationId="{25443840-A796-4C43-8DC1-1B738EFEC522}"/>
          </ac:cxnSpMkLst>
        </pc:cxnChg>
      </pc:sldChg>
    </pc:docChg>
  </pc:docChgLst>
  <pc:docChgLst>
    <pc:chgData name="Eileen Fleming Suse" userId="S::efs3844@ads.northwestern.edu::725c94ef-d051-42d7-9d33-8572765d592b" providerId="AD" clId="Web-{4F909934-BF80-9406-F823-1BE12A003AA4}"/>
    <pc:docChg chg="addSld delSld modSld sldOrd">
      <pc:chgData name="Eileen Fleming Suse" userId="S::efs3844@ads.northwestern.edu::725c94ef-d051-42d7-9d33-8572765d592b" providerId="AD" clId="Web-{4F909934-BF80-9406-F823-1BE12A003AA4}" dt="2023-11-20T15:22:24.918" v="13"/>
      <pc:docMkLst>
        <pc:docMk/>
      </pc:docMkLst>
      <pc:sldChg chg="modSp">
        <pc:chgData name="Eileen Fleming Suse" userId="S::efs3844@ads.northwestern.edu::725c94ef-d051-42d7-9d33-8572765d592b" providerId="AD" clId="Web-{4F909934-BF80-9406-F823-1BE12A003AA4}" dt="2023-11-20T15:20:23.900" v="11" actId="1076"/>
        <pc:sldMkLst>
          <pc:docMk/>
          <pc:sldMk cId="4023770579" sldId="654"/>
        </pc:sldMkLst>
        <pc:spChg chg="mod">
          <ac:chgData name="Eileen Fleming Suse" userId="S::efs3844@ads.northwestern.edu::725c94ef-d051-42d7-9d33-8572765d592b" providerId="AD" clId="Web-{4F909934-BF80-9406-F823-1BE12A003AA4}" dt="2023-11-20T15:20:23.900" v="11" actId="1076"/>
          <ac:spMkLst>
            <pc:docMk/>
            <pc:sldMk cId="4023770579" sldId="654"/>
            <ac:spMk id="14" creationId="{700DFE8C-04E0-11F7-1D35-A335A4579AA0}"/>
          </ac:spMkLst>
        </pc:spChg>
      </pc:sldChg>
      <pc:sldChg chg="add del">
        <pc:chgData name="Eileen Fleming Suse" userId="S::efs3844@ads.northwestern.edu::725c94ef-d051-42d7-9d33-8572765d592b" providerId="AD" clId="Web-{4F909934-BF80-9406-F823-1BE12A003AA4}" dt="2023-11-20T15:18:25.740" v="5"/>
        <pc:sldMkLst>
          <pc:docMk/>
          <pc:sldMk cId="1742938802" sldId="745"/>
        </pc:sldMkLst>
      </pc:sldChg>
      <pc:sldChg chg="add del">
        <pc:chgData name="Eileen Fleming Suse" userId="S::efs3844@ads.northwestern.edu::725c94ef-d051-42d7-9d33-8572765d592b" providerId="AD" clId="Web-{4F909934-BF80-9406-F823-1BE12A003AA4}" dt="2023-11-20T15:18:25.709" v="4"/>
        <pc:sldMkLst>
          <pc:docMk/>
          <pc:sldMk cId="3622218340" sldId="746"/>
        </pc:sldMkLst>
      </pc:sldChg>
      <pc:sldChg chg="add ord">
        <pc:chgData name="Eileen Fleming Suse" userId="S::efs3844@ads.northwestern.edu::725c94ef-d051-42d7-9d33-8572765d592b" providerId="AD" clId="Web-{4F909934-BF80-9406-F823-1BE12A003AA4}" dt="2023-11-20T15:19:05.273" v="6"/>
        <pc:sldMkLst>
          <pc:docMk/>
          <pc:sldMk cId="1758158855" sldId="747"/>
        </pc:sldMkLst>
      </pc:sldChg>
      <pc:sldChg chg="add del">
        <pc:chgData name="Eileen Fleming Suse" userId="S::efs3844@ads.northwestern.edu::725c94ef-d051-42d7-9d33-8572765d592b" providerId="AD" clId="Web-{4F909934-BF80-9406-F823-1BE12A003AA4}" dt="2023-11-20T15:20:48.463" v="12"/>
        <pc:sldMkLst>
          <pc:docMk/>
          <pc:sldMk cId="1800076945" sldId="748"/>
        </pc:sldMkLst>
      </pc:sldChg>
      <pc:sldChg chg="new">
        <pc:chgData name="Eileen Fleming Suse" userId="S::efs3844@ads.northwestern.edu::725c94ef-d051-42d7-9d33-8572765d592b" providerId="AD" clId="Web-{4F909934-BF80-9406-F823-1BE12A003AA4}" dt="2023-11-20T15:22:24.918" v="13"/>
        <pc:sldMkLst>
          <pc:docMk/>
          <pc:sldMk cId="3917006652" sldId="748"/>
        </pc:sldMkLst>
      </pc:sldChg>
    </pc:docChg>
  </pc:docChgLst>
  <pc:docChgLst>
    <pc:chgData name="Eileen Fleming Suse" userId="S::efs3844@ads.northwestern.edu::725c94ef-d051-42d7-9d33-8572765d592b" providerId="AD" clId="Web-{AC5E249F-4AD8-EC7C-FB2F-902F01AC2000}"/>
    <pc:docChg chg="addSld delSld modSld sldOrd">
      <pc:chgData name="Eileen Fleming Suse" userId="S::efs3844@ads.northwestern.edu::725c94ef-d051-42d7-9d33-8572765d592b" providerId="AD" clId="Web-{AC5E249F-4AD8-EC7C-FB2F-902F01AC2000}" dt="2023-10-27T16:29:18.072" v="456" actId="1076"/>
      <pc:docMkLst>
        <pc:docMk/>
      </pc:docMkLst>
      <pc:sldChg chg="modSp modNotes">
        <pc:chgData name="Eileen Fleming Suse" userId="S::efs3844@ads.northwestern.edu::725c94ef-d051-42d7-9d33-8572765d592b" providerId="AD" clId="Web-{AC5E249F-4AD8-EC7C-FB2F-902F01AC2000}" dt="2023-10-27T16:29:18.072" v="456" actId="1076"/>
        <pc:sldMkLst>
          <pc:docMk/>
          <pc:sldMk cId="4044691067" sldId="283"/>
        </pc:sldMkLst>
        <pc:spChg chg="mod">
          <ac:chgData name="Eileen Fleming Suse" userId="S::efs3844@ads.northwestern.edu::725c94ef-d051-42d7-9d33-8572765d592b" providerId="AD" clId="Web-{AC5E249F-4AD8-EC7C-FB2F-902F01AC2000}" dt="2023-10-27T16:29:18.072" v="456" actId="1076"/>
          <ac:spMkLst>
            <pc:docMk/>
            <pc:sldMk cId="4044691067" sldId="283"/>
            <ac:spMk id="2" creationId="{00000000-0000-0000-0000-000000000000}"/>
          </ac:spMkLst>
        </pc:spChg>
        <pc:spChg chg="mod">
          <ac:chgData name="Eileen Fleming Suse" userId="S::efs3844@ads.northwestern.edu::725c94ef-d051-42d7-9d33-8572765d592b" providerId="AD" clId="Web-{AC5E249F-4AD8-EC7C-FB2F-902F01AC2000}" dt="2023-10-27T16:29:15.931" v="455" actId="1076"/>
          <ac:spMkLst>
            <pc:docMk/>
            <pc:sldMk cId="4044691067" sldId="283"/>
            <ac:spMk id="3" creationId="{00000000-0000-0000-0000-000000000000}"/>
          </ac:spMkLst>
        </pc:spChg>
        <pc:spChg chg="mod">
          <ac:chgData name="Eileen Fleming Suse" userId="S::efs3844@ads.northwestern.edu::725c94ef-d051-42d7-9d33-8572765d592b" providerId="AD" clId="Web-{AC5E249F-4AD8-EC7C-FB2F-902F01AC2000}" dt="2023-10-27T16:29:10.446" v="454" actId="14100"/>
          <ac:spMkLst>
            <pc:docMk/>
            <pc:sldMk cId="4044691067" sldId="283"/>
            <ac:spMk id="16387" creationId="{00000000-0000-0000-0000-000000000000}"/>
          </ac:spMkLst>
        </pc:spChg>
      </pc:sldChg>
      <pc:sldChg chg="addSp delSp">
        <pc:chgData name="Eileen Fleming Suse" userId="S::efs3844@ads.northwestern.edu::725c94ef-d051-42d7-9d33-8572765d592b" providerId="AD" clId="Web-{AC5E249F-4AD8-EC7C-FB2F-902F01AC2000}" dt="2023-10-26T21:58:41.182" v="151"/>
        <pc:sldMkLst>
          <pc:docMk/>
          <pc:sldMk cId="2351229145" sldId="544"/>
        </pc:sldMkLst>
        <pc:spChg chg="add del">
          <ac:chgData name="Eileen Fleming Suse" userId="S::efs3844@ads.northwestern.edu::725c94ef-d051-42d7-9d33-8572765d592b" providerId="AD" clId="Web-{AC5E249F-4AD8-EC7C-FB2F-902F01AC2000}" dt="2023-10-26T21:58:06.181" v="147"/>
          <ac:spMkLst>
            <pc:docMk/>
            <pc:sldMk cId="2351229145" sldId="544"/>
            <ac:spMk id="5" creationId="{36680922-E1CE-BE2F-3876-A01BCC5F7C11}"/>
          </ac:spMkLst>
        </pc:spChg>
        <pc:spChg chg="add del">
          <ac:chgData name="Eileen Fleming Suse" userId="S::efs3844@ads.northwestern.edu::725c94ef-d051-42d7-9d33-8572765d592b" providerId="AD" clId="Web-{AC5E249F-4AD8-EC7C-FB2F-902F01AC2000}" dt="2023-10-26T21:58:26.150" v="149"/>
          <ac:spMkLst>
            <pc:docMk/>
            <pc:sldMk cId="2351229145" sldId="544"/>
            <ac:spMk id="7" creationId="{DEE6C46D-5131-EC35-0A2F-8AA9AE4340CC}"/>
          </ac:spMkLst>
        </pc:spChg>
        <pc:spChg chg="add del">
          <ac:chgData name="Eileen Fleming Suse" userId="S::efs3844@ads.northwestern.edu::725c94ef-d051-42d7-9d33-8572765d592b" providerId="AD" clId="Web-{AC5E249F-4AD8-EC7C-FB2F-902F01AC2000}" dt="2023-10-26T21:58:41.182" v="151"/>
          <ac:spMkLst>
            <pc:docMk/>
            <pc:sldMk cId="2351229145" sldId="544"/>
            <ac:spMk id="9" creationId="{A6920F2C-76F5-7A5F-BA4C-F207C33F8197}"/>
          </ac:spMkLst>
        </pc:spChg>
      </pc:sldChg>
      <pc:sldChg chg="modSp">
        <pc:chgData name="Eileen Fleming Suse" userId="S::efs3844@ads.northwestern.edu::725c94ef-d051-42d7-9d33-8572765d592b" providerId="AD" clId="Web-{AC5E249F-4AD8-EC7C-FB2F-902F01AC2000}" dt="2023-10-26T19:51:49.576" v="8" actId="20577"/>
        <pc:sldMkLst>
          <pc:docMk/>
          <pc:sldMk cId="1036043289" sldId="546"/>
        </pc:sldMkLst>
        <pc:spChg chg="mod">
          <ac:chgData name="Eileen Fleming Suse" userId="S::efs3844@ads.northwestern.edu::725c94ef-d051-42d7-9d33-8572765d592b" providerId="AD" clId="Web-{AC5E249F-4AD8-EC7C-FB2F-902F01AC2000}" dt="2023-10-26T19:51:49.576" v="8" actId="20577"/>
          <ac:spMkLst>
            <pc:docMk/>
            <pc:sldMk cId="1036043289" sldId="546"/>
            <ac:spMk id="2" creationId="{67E16CF5-47C8-BEAD-25F8-81514DC0AF8B}"/>
          </ac:spMkLst>
        </pc:spChg>
      </pc:sldChg>
      <pc:sldChg chg="del">
        <pc:chgData name="Eileen Fleming Suse" userId="S::efs3844@ads.northwestern.edu::725c94ef-d051-42d7-9d33-8572765d592b" providerId="AD" clId="Web-{AC5E249F-4AD8-EC7C-FB2F-902F01AC2000}" dt="2023-10-26T22:03:16.959" v="182"/>
        <pc:sldMkLst>
          <pc:docMk/>
          <pc:sldMk cId="4024842338" sldId="547"/>
        </pc:sldMkLst>
      </pc:sldChg>
      <pc:sldChg chg="addSp delSp modSp">
        <pc:chgData name="Eileen Fleming Suse" userId="S::efs3844@ads.northwestern.edu::725c94ef-d051-42d7-9d33-8572765d592b" providerId="AD" clId="Web-{AC5E249F-4AD8-EC7C-FB2F-902F01AC2000}" dt="2023-10-26T22:07:46.547" v="215"/>
        <pc:sldMkLst>
          <pc:docMk/>
          <pc:sldMk cId="3067427377" sldId="560"/>
        </pc:sldMkLst>
        <pc:spChg chg="mod">
          <ac:chgData name="Eileen Fleming Suse" userId="S::efs3844@ads.northwestern.edu::725c94ef-d051-42d7-9d33-8572765d592b" providerId="AD" clId="Web-{AC5E249F-4AD8-EC7C-FB2F-902F01AC2000}" dt="2023-10-26T22:07:00.390" v="210" actId="14100"/>
          <ac:spMkLst>
            <pc:docMk/>
            <pc:sldMk cId="3067427377" sldId="560"/>
            <ac:spMk id="3" creationId="{E7ECD19B-85BC-6652-2856-676802964CFA}"/>
          </ac:spMkLst>
        </pc:spChg>
        <pc:spChg chg="add del">
          <ac:chgData name="Eileen Fleming Suse" userId="S::efs3844@ads.northwestern.edu::725c94ef-d051-42d7-9d33-8572765d592b" providerId="AD" clId="Web-{AC5E249F-4AD8-EC7C-FB2F-902F01AC2000}" dt="2023-10-26T22:07:33.687" v="213"/>
          <ac:spMkLst>
            <pc:docMk/>
            <pc:sldMk cId="3067427377" sldId="560"/>
            <ac:spMk id="7" creationId="{A02B2455-F99D-2227-02B8-F9E1B069703B}"/>
          </ac:spMkLst>
        </pc:spChg>
        <pc:spChg chg="add del mod">
          <ac:chgData name="Eileen Fleming Suse" userId="S::efs3844@ads.northwestern.edu::725c94ef-d051-42d7-9d33-8572765d592b" providerId="AD" clId="Web-{AC5E249F-4AD8-EC7C-FB2F-902F01AC2000}" dt="2023-10-26T22:07:22.296" v="212"/>
          <ac:spMkLst>
            <pc:docMk/>
            <pc:sldMk cId="3067427377" sldId="560"/>
            <ac:spMk id="9" creationId="{584AC78D-2AB3-FFCF-7E6D-6AD502FC54D4}"/>
          </ac:spMkLst>
        </pc:spChg>
        <pc:spChg chg="add del">
          <ac:chgData name="Eileen Fleming Suse" userId="S::efs3844@ads.northwestern.edu::725c94ef-d051-42d7-9d33-8572765d592b" providerId="AD" clId="Web-{AC5E249F-4AD8-EC7C-FB2F-902F01AC2000}" dt="2023-10-26T22:07:34.875" v="214"/>
          <ac:spMkLst>
            <pc:docMk/>
            <pc:sldMk cId="3067427377" sldId="560"/>
            <ac:spMk id="11" creationId="{25AE46F6-8873-C45A-4460-9B1E673C65E0}"/>
          </ac:spMkLst>
        </pc:spChg>
        <pc:spChg chg="add del">
          <ac:chgData name="Eileen Fleming Suse" userId="S::efs3844@ads.northwestern.edu::725c94ef-d051-42d7-9d33-8572765d592b" providerId="AD" clId="Web-{AC5E249F-4AD8-EC7C-FB2F-902F01AC2000}" dt="2023-10-26T22:07:46.547" v="215"/>
          <ac:spMkLst>
            <pc:docMk/>
            <pc:sldMk cId="3067427377" sldId="560"/>
            <ac:spMk id="13" creationId="{01F6CB6F-B810-DCDD-2A4B-90C738ED3EA9}"/>
          </ac:spMkLst>
        </pc:spChg>
      </pc:sldChg>
      <pc:sldChg chg="addSp delSp modSp">
        <pc:chgData name="Eileen Fleming Suse" userId="S::efs3844@ads.northwestern.edu::725c94ef-d051-42d7-9d33-8572765d592b" providerId="AD" clId="Web-{AC5E249F-4AD8-EC7C-FB2F-902F01AC2000}" dt="2023-10-26T22:17:19.116" v="276" actId="20577"/>
        <pc:sldMkLst>
          <pc:docMk/>
          <pc:sldMk cId="1141815353" sldId="562"/>
        </pc:sldMkLst>
        <pc:spChg chg="mod">
          <ac:chgData name="Eileen Fleming Suse" userId="S::efs3844@ads.northwestern.edu::725c94ef-d051-42d7-9d33-8572765d592b" providerId="AD" clId="Web-{AC5E249F-4AD8-EC7C-FB2F-902F01AC2000}" dt="2023-10-26T22:08:07.485" v="217" actId="20577"/>
          <ac:spMkLst>
            <pc:docMk/>
            <pc:sldMk cId="1141815353" sldId="562"/>
            <ac:spMk id="2" creationId="{05579FEB-3306-A04E-6516-F16994F3B0F9}"/>
          </ac:spMkLst>
        </pc:spChg>
        <pc:spChg chg="del mod">
          <ac:chgData name="Eileen Fleming Suse" userId="S::efs3844@ads.northwestern.edu::725c94ef-d051-42d7-9d33-8572765d592b" providerId="AD" clId="Web-{AC5E249F-4AD8-EC7C-FB2F-902F01AC2000}" dt="2023-10-26T22:12:46.574" v="249"/>
          <ac:spMkLst>
            <pc:docMk/>
            <pc:sldMk cId="1141815353" sldId="562"/>
            <ac:spMk id="3" creationId="{FAB96473-F45F-5893-CEB0-FAFF66B2B444}"/>
          </ac:spMkLst>
        </pc:spChg>
        <pc:spChg chg="add del mod">
          <ac:chgData name="Eileen Fleming Suse" userId="S::efs3844@ads.northwestern.edu::725c94ef-d051-42d7-9d33-8572765d592b" providerId="AD" clId="Web-{AC5E249F-4AD8-EC7C-FB2F-902F01AC2000}" dt="2023-10-26T22:13:35.529" v="256"/>
          <ac:spMkLst>
            <pc:docMk/>
            <pc:sldMk cId="1141815353" sldId="562"/>
            <ac:spMk id="299" creationId="{133B377F-EBFC-4D3A-E73F-A028F0C56783}"/>
          </ac:spMkLst>
        </pc:spChg>
        <pc:spChg chg="add mod">
          <ac:chgData name="Eileen Fleming Suse" userId="S::efs3844@ads.northwestern.edu::725c94ef-d051-42d7-9d33-8572765d592b" providerId="AD" clId="Web-{AC5E249F-4AD8-EC7C-FB2F-902F01AC2000}" dt="2023-10-26T22:17:19.116" v="276" actId="20577"/>
          <ac:spMkLst>
            <pc:docMk/>
            <pc:sldMk cId="1141815353" sldId="562"/>
            <ac:spMk id="360" creationId="{FE59A3A2-BFF2-9772-51D6-9CCB620AEB53}"/>
          </ac:spMkLst>
        </pc:spChg>
        <pc:graphicFrameChg chg="add del mod modGraphic">
          <ac:chgData name="Eileen Fleming Suse" userId="S::efs3844@ads.northwestern.edu::725c94ef-d051-42d7-9d33-8572765d592b" providerId="AD" clId="Web-{AC5E249F-4AD8-EC7C-FB2F-902F01AC2000}" dt="2023-10-26T22:10:00.037" v="231"/>
          <ac:graphicFrameMkLst>
            <pc:docMk/>
            <pc:sldMk cId="1141815353" sldId="562"/>
            <ac:graphicFrameMk id="4" creationId="{BE75C271-797A-15FE-F5A6-2846FCF41DA5}"/>
          </ac:graphicFrameMkLst>
        </pc:graphicFrameChg>
        <pc:graphicFrameChg chg="add mod modGraphic">
          <ac:chgData name="Eileen Fleming Suse" userId="S::efs3844@ads.northwestern.edu::725c94ef-d051-42d7-9d33-8572765d592b" providerId="AD" clId="Web-{AC5E249F-4AD8-EC7C-FB2F-902F01AC2000}" dt="2023-10-26T22:13:34.733" v="255" actId="1076"/>
          <ac:graphicFrameMkLst>
            <pc:docMk/>
            <pc:sldMk cId="1141815353" sldId="562"/>
            <ac:graphicFrameMk id="137" creationId="{61D68665-D38F-2DB1-AAFC-535C715B7F9F}"/>
          </ac:graphicFrameMkLst>
        </pc:graphicFrameChg>
      </pc:sldChg>
      <pc:sldChg chg="addSp delSp modSp ord">
        <pc:chgData name="Eileen Fleming Suse" userId="S::efs3844@ads.northwestern.edu::725c94ef-d051-42d7-9d33-8572765d592b" providerId="AD" clId="Web-{AC5E249F-4AD8-EC7C-FB2F-902F01AC2000}" dt="2023-10-27T16:06:46.831" v="342" actId="20577"/>
        <pc:sldMkLst>
          <pc:docMk/>
          <pc:sldMk cId="3845418986" sldId="563"/>
        </pc:sldMkLst>
        <pc:spChg chg="del mod">
          <ac:chgData name="Eileen Fleming Suse" userId="S::efs3844@ads.northwestern.edu::725c94ef-d051-42d7-9d33-8572765d592b" providerId="AD" clId="Web-{AC5E249F-4AD8-EC7C-FB2F-902F01AC2000}" dt="2023-10-27T16:05:33.188" v="312"/>
          <ac:spMkLst>
            <pc:docMk/>
            <pc:sldMk cId="3845418986" sldId="563"/>
            <ac:spMk id="2" creationId="{00000000-0000-0000-0000-000000000000}"/>
          </ac:spMkLst>
        </pc:spChg>
        <pc:spChg chg="mod">
          <ac:chgData name="Eileen Fleming Suse" userId="S::efs3844@ads.northwestern.edu::725c94ef-d051-42d7-9d33-8572765d592b" providerId="AD" clId="Web-{AC5E249F-4AD8-EC7C-FB2F-902F01AC2000}" dt="2023-10-27T16:05:40.469" v="313" actId="1076"/>
          <ac:spMkLst>
            <pc:docMk/>
            <pc:sldMk cId="3845418986" sldId="563"/>
            <ac:spMk id="3" creationId="{00000000-0000-0000-0000-000000000000}"/>
          </ac:spMkLst>
        </pc:spChg>
        <pc:spChg chg="del">
          <ac:chgData name="Eileen Fleming Suse" userId="S::efs3844@ads.northwestern.edu::725c94ef-d051-42d7-9d33-8572765d592b" providerId="AD" clId="Web-{AC5E249F-4AD8-EC7C-FB2F-902F01AC2000}" dt="2023-10-26T21:54:44.517" v="141"/>
          <ac:spMkLst>
            <pc:docMk/>
            <pc:sldMk cId="3845418986" sldId="563"/>
            <ac:spMk id="33" creationId="{00000000-0000-0000-0000-000000000000}"/>
          </ac:spMkLst>
        </pc:spChg>
        <pc:spChg chg="add mod">
          <ac:chgData name="Eileen Fleming Suse" userId="S::efs3844@ads.northwestern.edu::725c94ef-d051-42d7-9d33-8572765d592b" providerId="AD" clId="Web-{AC5E249F-4AD8-EC7C-FB2F-902F01AC2000}" dt="2023-10-27T16:06:46.831" v="342" actId="20577"/>
          <ac:spMkLst>
            <pc:docMk/>
            <pc:sldMk cId="3845418986" sldId="563"/>
            <ac:spMk id="33" creationId="{5C2A740E-7A02-31A5-EAAF-9CD8C0A41D47}"/>
          </ac:spMkLst>
        </pc:spChg>
        <pc:spChg chg="mod">
          <ac:chgData name="Eileen Fleming Suse" userId="S::efs3844@ads.northwestern.edu::725c94ef-d051-42d7-9d33-8572765d592b" providerId="AD" clId="Web-{AC5E249F-4AD8-EC7C-FB2F-902F01AC2000}" dt="2023-10-27T16:05:40.891" v="322" actId="1076"/>
          <ac:spMkLst>
            <pc:docMk/>
            <pc:sldMk cId="3845418986" sldId="563"/>
            <ac:spMk id="34" creationId="{00000000-0000-0000-0000-000000000000}"/>
          </ac:spMkLst>
        </pc:spChg>
        <pc:spChg chg="mod">
          <ac:chgData name="Eileen Fleming Suse" userId="S::efs3844@ads.northwestern.edu::725c94ef-d051-42d7-9d33-8572765d592b" providerId="AD" clId="Web-{AC5E249F-4AD8-EC7C-FB2F-902F01AC2000}" dt="2023-10-27T16:05:40.907" v="323" actId="1076"/>
          <ac:spMkLst>
            <pc:docMk/>
            <pc:sldMk cId="3845418986" sldId="563"/>
            <ac:spMk id="35" creationId="{00000000-0000-0000-0000-000000000000}"/>
          </ac:spMkLst>
        </pc:spChg>
        <pc:spChg chg="mod">
          <ac:chgData name="Eileen Fleming Suse" userId="S::efs3844@ads.northwestern.edu::725c94ef-d051-42d7-9d33-8572765d592b" providerId="AD" clId="Web-{AC5E249F-4AD8-EC7C-FB2F-902F01AC2000}" dt="2023-10-27T16:05:40.954" v="324" actId="1076"/>
          <ac:spMkLst>
            <pc:docMk/>
            <pc:sldMk cId="3845418986" sldId="563"/>
            <ac:spMk id="36" creationId="{00000000-0000-0000-0000-000000000000}"/>
          </ac:spMkLst>
        </pc:spChg>
        <pc:spChg chg="mod">
          <ac:chgData name="Eileen Fleming Suse" userId="S::efs3844@ads.northwestern.edu::725c94ef-d051-42d7-9d33-8572765d592b" providerId="AD" clId="Web-{AC5E249F-4AD8-EC7C-FB2F-902F01AC2000}" dt="2023-10-27T16:05:40.985" v="325" actId="1076"/>
          <ac:spMkLst>
            <pc:docMk/>
            <pc:sldMk cId="3845418986" sldId="563"/>
            <ac:spMk id="37" creationId="{00000000-0000-0000-0000-000000000000}"/>
          </ac:spMkLst>
        </pc:spChg>
        <pc:spChg chg="mod">
          <ac:chgData name="Eileen Fleming Suse" userId="S::efs3844@ads.northwestern.edu::725c94ef-d051-42d7-9d33-8572765d592b" providerId="AD" clId="Web-{AC5E249F-4AD8-EC7C-FB2F-902F01AC2000}" dt="2023-10-27T16:05:41.001" v="326" actId="1076"/>
          <ac:spMkLst>
            <pc:docMk/>
            <pc:sldMk cId="3845418986" sldId="563"/>
            <ac:spMk id="38" creationId="{00000000-0000-0000-0000-000000000000}"/>
          </ac:spMkLst>
        </pc:spChg>
        <pc:spChg chg="mod">
          <ac:chgData name="Eileen Fleming Suse" userId="S::efs3844@ads.northwestern.edu::725c94ef-d051-42d7-9d33-8572765d592b" providerId="AD" clId="Web-{AC5E249F-4AD8-EC7C-FB2F-902F01AC2000}" dt="2023-10-27T16:05:41.032" v="327" actId="1076"/>
          <ac:spMkLst>
            <pc:docMk/>
            <pc:sldMk cId="3845418986" sldId="563"/>
            <ac:spMk id="39" creationId="{00000000-0000-0000-0000-000000000000}"/>
          </ac:spMkLst>
        </pc:spChg>
        <pc:spChg chg="mod">
          <ac:chgData name="Eileen Fleming Suse" userId="S::efs3844@ads.northwestern.edu::725c94ef-d051-42d7-9d33-8572765d592b" providerId="AD" clId="Web-{AC5E249F-4AD8-EC7C-FB2F-902F01AC2000}" dt="2023-10-27T16:05:41.079" v="328" actId="1076"/>
          <ac:spMkLst>
            <pc:docMk/>
            <pc:sldMk cId="3845418986" sldId="563"/>
            <ac:spMk id="40" creationId="{00000000-0000-0000-0000-000000000000}"/>
          </ac:spMkLst>
        </pc:spChg>
        <pc:spChg chg="mod">
          <ac:chgData name="Eileen Fleming Suse" userId="S::efs3844@ads.northwestern.edu::725c94ef-d051-42d7-9d33-8572765d592b" providerId="AD" clId="Web-{AC5E249F-4AD8-EC7C-FB2F-902F01AC2000}" dt="2023-10-27T16:05:41.110" v="329" actId="1076"/>
          <ac:spMkLst>
            <pc:docMk/>
            <pc:sldMk cId="3845418986" sldId="563"/>
            <ac:spMk id="41" creationId="{00000000-0000-0000-0000-000000000000}"/>
          </ac:spMkLst>
        </pc:spChg>
        <pc:spChg chg="mod">
          <ac:chgData name="Eileen Fleming Suse" userId="S::efs3844@ads.northwestern.edu::725c94ef-d051-42d7-9d33-8572765d592b" providerId="AD" clId="Web-{AC5E249F-4AD8-EC7C-FB2F-902F01AC2000}" dt="2023-10-27T16:05:41.157" v="330" actId="1076"/>
          <ac:spMkLst>
            <pc:docMk/>
            <pc:sldMk cId="3845418986" sldId="563"/>
            <ac:spMk id="42" creationId="{00000000-0000-0000-0000-000000000000}"/>
          </ac:spMkLst>
        </pc:spChg>
        <pc:spChg chg="mod">
          <ac:chgData name="Eileen Fleming Suse" userId="S::efs3844@ads.northwestern.edu::725c94ef-d051-42d7-9d33-8572765d592b" providerId="AD" clId="Web-{AC5E249F-4AD8-EC7C-FB2F-902F01AC2000}" dt="2023-10-27T16:05:42.798" v="333" actId="1076"/>
          <ac:spMkLst>
            <pc:docMk/>
            <pc:sldMk cId="3845418986" sldId="563"/>
            <ac:spMk id="43" creationId="{00000000-0000-0000-0000-000000000000}"/>
          </ac:spMkLst>
        </pc:spChg>
        <pc:spChg chg="mod">
          <ac:chgData name="Eileen Fleming Suse" userId="S::efs3844@ads.northwestern.edu::725c94ef-d051-42d7-9d33-8572765d592b" providerId="AD" clId="Web-{AC5E249F-4AD8-EC7C-FB2F-902F01AC2000}" dt="2023-10-27T16:05:41.173" v="331" actId="1076"/>
          <ac:spMkLst>
            <pc:docMk/>
            <pc:sldMk cId="3845418986" sldId="563"/>
            <ac:spMk id="44" creationId="{00000000-0000-0000-0000-000000000000}"/>
          </ac:spMkLst>
        </pc:spChg>
        <pc:spChg chg="mod">
          <ac:chgData name="Eileen Fleming Suse" userId="S::efs3844@ads.northwestern.edu::725c94ef-d051-42d7-9d33-8572765d592b" providerId="AD" clId="Web-{AC5E249F-4AD8-EC7C-FB2F-902F01AC2000}" dt="2023-10-27T16:05:41.219" v="332" actId="1076"/>
          <ac:spMkLst>
            <pc:docMk/>
            <pc:sldMk cId="3845418986" sldId="563"/>
            <ac:spMk id="45" creationId="{00000000-0000-0000-0000-000000000000}"/>
          </ac:spMkLst>
        </pc:spChg>
        <pc:spChg chg="del">
          <ac:chgData name="Eileen Fleming Suse" userId="S::efs3844@ads.northwestern.edu::725c94ef-d051-42d7-9d33-8572765d592b" providerId="AD" clId="Web-{AC5E249F-4AD8-EC7C-FB2F-902F01AC2000}" dt="2023-10-26T21:54:44.454" v="140"/>
          <ac:spMkLst>
            <pc:docMk/>
            <pc:sldMk cId="3845418986" sldId="563"/>
            <ac:spMk id="48" creationId="{00000000-0000-0000-0000-000000000000}"/>
          </ac:spMkLst>
        </pc:spChg>
        <pc:spChg chg="add">
          <ac:chgData name="Eileen Fleming Suse" userId="S::efs3844@ads.northwestern.edu::725c94ef-d051-42d7-9d33-8572765d592b" providerId="AD" clId="Web-{AC5E249F-4AD8-EC7C-FB2F-902F01AC2000}" dt="2023-10-26T21:54:44.642" v="142"/>
          <ac:spMkLst>
            <pc:docMk/>
            <pc:sldMk cId="3845418986" sldId="563"/>
            <ac:spMk id="49" creationId="{4FD6BDF7-E6F5-6DC8-9332-E3E0DB7057F0}"/>
          </ac:spMkLst>
        </pc:spChg>
        <pc:spChg chg="add">
          <ac:chgData name="Eileen Fleming Suse" userId="S::efs3844@ads.northwestern.edu::725c94ef-d051-42d7-9d33-8572765d592b" providerId="AD" clId="Web-{AC5E249F-4AD8-EC7C-FB2F-902F01AC2000}" dt="2023-10-26T21:54:44.673" v="143"/>
          <ac:spMkLst>
            <pc:docMk/>
            <pc:sldMk cId="3845418986" sldId="563"/>
            <ac:spMk id="51" creationId="{233EFC40-2641-E728-F412-79899FC6D0D7}"/>
          </ac:spMkLst>
        </pc:spChg>
        <pc:spChg chg="add">
          <ac:chgData name="Eileen Fleming Suse" userId="S::efs3844@ads.northwestern.edu::725c94ef-d051-42d7-9d33-8572765d592b" providerId="AD" clId="Web-{AC5E249F-4AD8-EC7C-FB2F-902F01AC2000}" dt="2023-10-26T21:54:44.704" v="144"/>
          <ac:spMkLst>
            <pc:docMk/>
            <pc:sldMk cId="3845418986" sldId="563"/>
            <ac:spMk id="53" creationId="{66360ABF-1F2C-C63A-9187-17E2573B3DEB}"/>
          </ac:spMkLst>
        </pc:spChg>
        <pc:grpChg chg="mod">
          <ac:chgData name="Eileen Fleming Suse" userId="S::efs3844@ads.northwestern.edu::725c94ef-d051-42d7-9d33-8572765d592b" providerId="AD" clId="Web-{AC5E249F-4AD8-EC7C-FB2F-902F01AC2000}" dt="2023-10-27T16:05:40.548" v="314" actId="1076"/>
          <ac:grpSpMkLst>
            <pc:docMk/>
            <pc:sldMk cId="3845418986" sldId="563"/>
            <ac:grpSpMk id="6" creationId="{00000000-0000-0000-0000-000000000000}"/>
          </ac:grpSpMkLst>
        </pc:grpChg>
        <pc:grpChg chg="mod">
          <ac:chgData name="Eileen Fleming Suse" userId="S::efs3844@ads.northwestern.edu::725c94ef-d051-42d7-9d33-8572765d592b" providerId="AD" clId="Web-{AC5E249F-4AD8-EC7C-FB2F-902F01AC2000}" dt="2023-10-27T16:05:40.594" v="315" actId="1076"/>
          <ac:grpSpMkLst>
            <pc:docMk/>
            <pc:sldMk cId="3845418986" sldId="563"/>
            <ac:grpSpMk id="9" creationId="{00000000-0000-0000-0000-000000000000}"/>
          </ac:grpSpMkLst>
        </pc:grpChg>
        <pc:grpChg chg="mod">
          <ac:chgData name="Eileen Fleming Suse" userId="S::efs3844@ads.northwestern.edu::725c94ef-d051-42d7-9d33-8572765d592b" providerId="AD" clId="Web-{AC5E249F-4AD8-EC7C-FB2F-902F01AC2000}" dt="2023-10-27T16:05:40.641" v="316" actId="1076"/>
          <ac:grpSpMkLst>
            <pc:docMk/>
            <pc:sldMk cId="3845418986" sldId="563"/>
            <ac:grpSpMk id="12" creationId="{00000000-0000-0000-0000-000000000000}"/>
          </ac:grpSpMkLst>
        </pc:grpChg>
        <pc:grpChg chg="mod">
          <ac:chgData name="Eileen Fleming Suse" userId="S::efs3844@ads.northwestern.edu::725c94ef-d051-42d7-9d33-8572765d592b" providerId="AD" clId="Web-{AC5E249F-4AD8-EC7C-FB2F-902F01AC2000}" dt="2023-10-27T16:05:40.688" v="317" actId="1076"/>
          <ac:grpSpMkLst>
            <pc:docMk/>
            <pc:sldMk cId="3845418986" sldId="563"/>
            <ac:grpSpMk id="15" creationId="{00000000-0000-0000-0000-000000000000}"/>
          </ac:grpSpMkLst>
        </pc:grpChg>
        <pc:grpChg chg="mod">
          <ac:chgData name="Eileen Fleming Suse" userId="S::efs3844@ads.northwestern.edu::725c94ef-d051-42d7-9d33-8572765d592b" providerId="AD" clId="Web-{AC5E249F-4AD8-EC7C-FB2F-902F01AC2000}" dt="2023-10-27T16:05:40.719" v="318" actId="1076"/>
          <ac:grpSpMkLst>
            <pc:docMk/>
            <pc:sldMk cId="3845418986" sldId="563"/>
            <ac:grpSpMk id="18" creationId="{00000000-0000-0000-0000-000000000000}"/>
          </ac:grpSpMkLst>
        </pc:grpChg>
        <pc:grpChg chg="mod">
          <ac:chgData name="Eileen Fleming Suse" userId="S::efs3844@ads.northwestern.edu::725c94ef-d051-42d7-9d33-8572765d592b" providerId="AD" clId="Web-{AC5E249F-4AD8-EC7C-FB2F-902F01AC2000}" dt="2023-10-27T16:05:40.751" v="319" actId="1076"/>
          <ac:grpSpMkLst>
            <pc:docMk/>
            <pc:sldMk cId="3845418986" sldId="563"/>
            <ac:grpSpMk id="21" creationId="{00000000-0000-0000-0000-000000000000}"/>
          </ac:grpSpMkLst>
        </pc:grpChg>
        <pc:grpChg chg="mod">
          <ac:chgData name="Eileen Fleming Suse" userId="S::efs3844@ads.northwestern.edu::725c94ef-d051-42d7-9d33-8572765d592b" providerId="AD" clId="Web-{AC5E249F-4AD8-EC7C-FB2F-902F01AC2000}" dt="2023-10-27T16:05:40.797" v="320" actId="1076"/>
          <ac:grpSpMkLst>
            <pc:docMk/>
            <pc:sldMk cId="3845418986" sldId="563"/>
            <ac:grpSpMk id="24" creationId="{00000000-0000-0000-0000-000000000000}"/>
          </ac:grpSpMkLst>
        </pc:grpChg>
        <pc:grpChg chg="mod">
          <ac:chgData name="Eileen Fleming Suse" userId="S::efs3844@ads.northwestern.edu::725c94ef-d051-42d7-9d33-8572765d592b" providerId="AD" clId="Web-{AC5E249F-4AD8-EC7C-FB2F-902F01AC2000}" dt="2023-10-27T16:05:40.860" v="321" actId="1076"/>
          <ac:grpSpMkLst>
            <pc:docMk/>
            <pc:sldMk cId="3845418986" sldId="563"/>
            <ac:grpSpMk id="27" creationId="{00000000-0000-0000-0000-000000000000}"/>
          </ac:grpSpMkLst>
        </pc:grpChg>
      </pc:sldChg>
      <pc:sldChg chg="addSp delSp ord">
        <pc:chgData name="Eileen Fleming Suse" userId="S::efs3844@ads.northwestern.edu::725c94ef-d051-42d7-9d33-8572765d592b" providerId="AD" clId="Web-{AC5E249F-4AD8-EC7C-FB2F-902F01AC2000}" dt="2023-10-26T21:54:29.673" v="139"/>
        <pc:sldMkLst>
          <pc:docMk/>
          <pc:sldMk cId="1536434647" sldId="564"/>
        </pc:sldMkLst>
        <pc:spChg chg="del">
          <ac:chgData name="Eileen Fleming Suse" userId="S::efs3844@ads.northwestern.edu::725c94ef-d051-42d7-9d33-8572765d592b" providerId="AD" clId="Web-{AC5E249F-4AD8-EC7C-FB2F-902F01AC2000}" dt="2023-10-26T21:54:19.438" v="135"/>
          <ac:spMkLst>
            <pc:docMk/>
            <pc:sldMk cId="1536434647" sldId="564"/>
            <ac:spMk id="26" creationId="{00000000-0000-0000-0000-000000000000}"/>
          </ac:spMkLst>
        </pc:spChg>
        <pc:spChg chg="del">
          <ac:chgData name="Eileen Fleming Suse" userId="S::efs3844@ads.northwestern.edu::725c94ef-d051-42d7-9d33-8572765d592b" providerId="AD" clId="Web-{AC5E249F-4AD8-EC7C-FB2F-902F01AC2000}" dt="2023-10-26T21:54:28.954" v="136"/>
          <ac:spMkLst>
            <pc:docMk/>
            <pc:sldMk cId="1536434647" sldId="564"/>
            <ac:spMk id="48" creationId="{00000000-0000-0000-0000-000000000000}"/>
          </ac:spMkLst>
        </pc:spChg>
        <pc:spChg chg="add">
          <ac:chgData name="Eileen Fleming Suse" userId="S::efs3844@ads.northwestern.edu::725c94ef-d051-42d7-9d33-8572765d592b" providerId="AD" clId="Web-{AC5E249F-4AD8-EC7C-FB2F-902F01AC2000}" dt="2023-10-26T21:54:29.579" v="137"/>
          <ac:spMkLst>
            <pc:docMk/>
            <pc:sldMk cId="1536434647" sldId="564"/>
            <ac:spMk id="51" creationId="{DADB789B-D1D8-A439-C1FC-0121F131E706}"/>
          </ac:spMkLst>
        </pc:spChg>
        <pc:spChg chg="add">
          <ac:chgData name="Eileen Fleming Suse" userId="S::efs3844@ads.northwestern.edu::725c94ef-d051-42d7-9d33-8572765d592b" providerId="AD" clId="Web-{AC5E249F-4AD8-EC7C-FB2F-902F01AC2000}" dt="2023-10-26T21:54:29.626" v="138"/>
          <ac:spMkLst>
            <pc:docMk/>
            <pc:sldMk cId="1536434647" sldId="564"/>
            <ac:spMk id="53" creationId="{7AA1F7FA-AA52-FED3-1784-BE66C8A7FBFC}"/>
          </ac:spMkLst>
        </pc:spChg>
        <pc:spChg chg="add">
          <ac:chgData name="Eileen Fleming Suse" userId="S::efs3844@ads.northwestern.edu::725c94ef-d051-42d7-9d33-8572765d592b" providerId="AD" clId="Web-{AC5E249F-4AD8-EC7C-FB2F-902F01AC2000}" dt="2023-10-26T21:54:29.673" v="139"/>
          <ac:spMkLst>
            <pc:docMk/>
            <pc:sldMk cId="1536434647" sldId="564"/>
            <ac:spMk id="55" creationId="{20BABE46-A93F-751A-4C5F-3AC294D73230}"/>
          </ac:spMkLst>
        </pc:spChg>
      </pc:sldChg>
      <pc:sldChg chg="addSp ord">
        <pc:chgData name="Eileen Fleming Suse" userId="S::efs3844@ads.northwestern.edu::725c94ef-d051-42d7-9d33-8572765d592b" providerId="AD" clId="Web-{AC5E249F-4AD8-EC7C-FB2F-902F01AC2000}" dt="2023-10-26T21:54:54.814" v="145"/>
        <pc:sldMkLst>
          <pc:docMk/>
          <pc:sldMk cId="3004937174" sldId="565"/>
        </pc:sldMkLst>
        <pc:spChg chg="add">
          <ac:chgData name="Eileen Fleming Suse" userId="S::efs3844@ads.northwestern.edu::725c94ef-d051-42d7-9d33-8572765d592b" providerId="AD" clId="Web-{AC5E249F-4AD8-EC7C-FB2F-902F01AC2000}" dt="2023-10-26T21:54:54.814" v="145"/>
          <ac:spMkLst>
            <pc:docMk/>
            <pc:sldMk cId="3004937174" sldId="565"/>
            <ac:spMk id="43" creationId="{8306C3D8-831A-F712-3C29-BC96F5346A16}"/>
          </ac:spMkLst>
        </pc:spChg>
      </pc:sldChg>
      <pc:sldChg chg="del">
        <pc:chgData name="Eileen Fleming Suse" userId="S::efs3844@ads.northwestern.edu::725c94ef-d051-42d7-9d33-8572765d592b" providerId="AD" clId="Web-{AC5E249F-4AD8-EC7C-FB2F-902F01AC2000}" dt="2023-10-26T22:00:39.077" v="178"/>
        <pc:sldMkLst>
          <pc:docMk/>
          <pc:sldMk cId="3090389772" sldId="568"/>
        </pc:sldMkLst>
      </pc:sldChg>
      <pc:sldChg chg="del">
        <pc:chgData name="Eileen Fleming Suse" userId="S::efs3844@ads.northwestern.edu::725c94ef-d051-42d7-9d33-8572765d592b" providerId="AD" clId="Web-{AC5E249F-4AD8-EC7C-FB2F-902F01AC2000}" dt="2023-10-26T22:00:39.077" v="177"/>
        <pc:sldMkLst>
          <pc:docMk/>
          <pc:sldMk cId="1088329954" sldId="569"/>
        </pc:sldMkLst>
      </pc:sldChg>
      <pc:sldChg chg="del">
        <pc:chgData name="Eileen Fleming Suse" userId="S::efs3844@ads.northwestern.edu::725c94ef-d051-42d7-9d33-8572765d592b" providerId="AD" clId="Web-{AC5E249F-4AD8-EC7C-FB2F-902F01AC2000}" dt="2023-10-26T22:00:39.077" v="176"/>
        <pc:sldMkLst>
          <pc:docMk/>
          <pc:sldMk cId="2849312483" sldId="570"/>
        </pc:sldMkLst>
      </pc:sldChg>
      <pc:sldChg chg="del">
        <pc:chgData name="Eileen Fleming Suse" userId="S::efs3844@ads.northwestern.edu::725c94ef-d051-42d7-9d33-8572765d592b" providerId="AD" clId="Web-{AC5E249F-4AD8-EC7C-FB2F-902F01AC2000}" dt="2023-10-26T22:00:39.077" v="175"/>
        <pc:sldMkLst>
          <pc:docMk/>
          <pc:sldMk cId="1337825202" sldId="571"/>
        </pc:sldMkLst>
      </pc:sldChg>
      <pc:sldChg chg="del">
        <pc:chgData name="Eileen Fleming Suse" userId="S::efs3844@ads.northwestern.edu::725c94ef-d051-42d7-9d33-8572765d592b" providerId="AD" clId="Web-{AC5E249F-4AD8-EC7C-FB2F-902F01AC2000}" dt="2023-10-26T22:00:39.062" v="174"/>
        <pc:sldMkLst>
          <pc:docMk/>
          <pc:sldMk cId="1568500938" sldId="575"/>
        </pc:sldMkLst>
      </pc:sldChg>
      <pc:sldChg chg="del">
        <pc:chgData name="Eileen Fleming Suse" userId="S::efs3844@ads.northwestern.edu::725c94ef-d051-42d7-9d33-8572765d592b" providerId="AD" clId="Web-{AC5E249F-4AD8-EC7C-FB2F-902F01AC2000}" dt="2023-10-26T22:00:39.062" v="173"/>
        <pc:sldMkLst>
          <pc:docMk/>
          <pc:sldMk cId="1407824229" sldId="576"/>
        </pc:sldMkLst>
      </pc:sldChg>
      <pc:sldChg chg="addSp modSp">
        <pc:chgData name="Eileen Fleming Suse" userId="S::efs3844@ads.northwestern.edu::725c94ef-d051-42d7-9d33-8572765d592b" providerId="AD" clId="Web-{AC5E249F-4AD8-EC7C-FB2F-902F01AC2000}" dt="2023-10-27T16:25:23.018" v="443"/>
        <pc:sldMkLst>
          <pc:docMk/>
          <pc:sldMk cId="785115983" sldId="578"/>
        </pc:sldMkLst>
        <pc:cxnChg chg="add ord">
          <ac:chgData name="Eileen Fleming Suse" userId="S::efs3844@ads.northwestern.edu::725c94ef-d051-42d7-9d33-8572765d592b" providerId="AD" clId="Web-{AC5E249F-4AD8-EC7C-FB2F-902F01AC2000}" dt="2023-10-27T16:25:18.221" v="442"/>
          <ac:cxnSpMkLst>
            <pc:docMk/>
            <pc:sldMk cId="785115983" sldId="578"/>
            <ac:cxnSpMk id="53" creationId="{A7B5C048-F156-0D3C-D55F-4D731E35FA2E}"/>
          </ac:cxnSpMkLst>
        </pc:cxnChg>
        <pc:cxnChg chg="add mod ord">
          <ac:chgData name="Eileen Fleming Suse" userId="S::efs3844@ads.northwestern.edu::725c94ef-d051-42d7-9d33-8572765d592b" providerId="AD" clId="Web-{AC5E249F-4AD8-EC7C-FB2F-902F01AC2000}" dt="2023-10-27T16:25:13.221" v="441"/>
          <ac:cxnSpMkLst>
            <pc:docMk/>
            <pc:sldMk cId="785115983" sldId="578"/>
            <ac:cxnSpMk id="55" creationId="{6352D6FE-962F-E499-92FF-86F2420A2EA5}"/>
          </ac:cxnSpMkLst>
        </pc:cxnChg>
        <pc:cxnChg chg="add mod ord">
          <ac:chgData name="Eileen Fleming Suse" userId="S::efs3844@ads.northwestern.edu::725c94ef-d051-42d7-9d33-8572765d592b" providerId="AD" clId="Web-{AC5E249F-4AD8-EC7C-FB2F-902F01AC2000}" dt="2023-10-27T16:25:23.018" v="443"/>
          <ac:cxnSpMkLst>
            <pc:docMk/>
            <pc:sldMk cId="785115983" sldId="578"/>
            <ac:cxnSpMk id="57" creationId="{20BA68FA-6BDE-2EDB-723C-CD601AB032C2}"/>
          </ac:cxnSpMkLst>
        </pc:cxnChg>
      </pc:sldChg>
      <pc:sldChg chg="addSp modSp">
        <pc:chgData name="Eileen Fleming Suse" userId="S::efs3844@ads.northwestern.edu::725c94ef-d051-42d7-9d33-8572765d592b" providerId="AD" clId="Web-{AC5E249F-4AD8-EC7C-FB2F-902F01AC2000}" dt="2023-10-27T16:24:55.080" v="435"/>
        <pc:sldMkLst>
          <pc:docMk/>
          <pc:sldMk cId="3030449316" sldId="579"/>
        </pc:sldMkLst>
        <pc:spChg chg="mod">
          <ac:chgData name="Eileen Fleming Suse" userId="S::efs3844@ads.northwestern.edu::725c94ef-d051-42d7-9d33-8572765d592b" providerId="AD" clId="Web-{AC5E249F-4AD8-EC7C-FB2F-902F01AC2000}" dt="2023-10-26T22:18:25.994" v="281" actId="14100"/>
          <ac:spMkLst>
            <pc:docMk/>
            <pc:sldMk cId="3030449316" sldId="579"/>
            <ac:spMk id="33" creationId="{00000000-0000-0000-0000-000000000000}"/>
          </ac:spMkLst>
        </pc:spChg>
        <pc:spChg chg="mod">
          <ac:chgData name="Eileen Fleming Suse" userId="S::efs3844@ads.northwestern.edu::725c94ef-d051-42d7-9d33-8572765d592b" providerId="AD" clId="Web-{AC5E249F-4AD8-EC7C-FB2F-902F01AC2000}" dt="2023-10-26T21:53:50.015" v="134" actId="1076"/>
          <ac:spMkLst>
            <pc:docMk/>
            <pc:sldMk cId="3030449316" sldId="579"/>
            <ac:spMk id="44" creationId="{00000000-0000-0000-0000-000000000000}"/>
          </ac:spMkLst>
        </pc:spChg>
        <pc:cxnChg chg="add mod ord">
          <ac:chgData name="Eileen Fleming Suse" userId="S::efs3844@ads.northwestern.edu::725c94ef-d051-42d7-9d33-8572765d592b" providerId="AD" clId="Web-{AC5E249F-4AD8-EC7C-FB2F-902F01AC2000}" dt="2023-10-27T16:24:51.033" v="434"/>
          <ac:cxnSpMkLst>
            <pc:docMk/>
            <pc:sldMk cId="3030449316" sldId="579"/>
            <ac:cxnSpMk id="53" creationId="{A3366110-511F-BCB4-653F-4CCE780C10E1}"/>
          </ac:cxnSpMkLst>
        </pc:cxnChg>
        <pc:cxnChg chg="add mod ord">
          <ac:chgData name="Eileen Fleming Suse" userId="S::efs3844@ads.northwestern.edu::725c94ef-d051-42d7-9d33-8572765d592b" providerId="AD" clId="Web-{AC5E249F-4AD8-EC7C-FB2F-902F01AC2000}" dt="2023-10-27T16:24:46.126" v="433"/>
          <ac:cxnSpMkLst>
            <pc:docMk/>
            <pc:sldMk cId="3030449316" sldId="579"/>
            <ac:cxnSpMk id="54" creationId="{52D6BD58-A1C0-4097-567A-36996C8B9E0B}"/>
          </ac:cxnSpMkLst>
        </pc:cxnChg>
        <pc:cxnChg chg="add mod ord">
          <ac:chgData name="Eileen Fleming Suse" userId="S::efs3844@ads.northwestern.edu::725c94ef-d051-42d7-9d33-8572765d592b" providerId="AD" clId="Web-{AC5E249F-4AD8-EC7C-FB2F-902F01AC2000}" dt="2023-10-27T16:24:55.080" v="435"/>
          <ac:cxnSpMkLst>
            <pc:docMk/>
            <pc:sldMk cId="3030449316" sldId="579"/>
            <ac:cxnSpMk id="55" creationId="{8F46A2E8-EDC0-45C5-E8E6-4A5E6F1F4FA0}"/>
          </ac:cxnSpMkLst>
        </pc:cxnChg>
      </pc:sldChg>
      <pc:sldChg chg="addSp modSp">
        <pc:chgData name="Eileen Fleming Suse" userId="S::efs3844@ads.northwestern.edu::725c94ef-d051-42d7-9d33-8572765d592b" providerId="AD" clId="Web-{AC5E249F-4AD8-EC7C-FB2F-902F01AC2000}" dt="2023-10-27T16:24:18.438" v="425" actId="20577"/>
        <pc:sldMkLst>
          <pc:docMk/>
          <pc:sldMk cId="4283907660" sldId="580"/>
        </pc:sldMkLst>
        <pc:spChg chg="mod">
          <ac:chgData name="Eileen Fleming Suse" userId="S::efs3844@ads.northwestern.edu::725c94ef-d051-42d7-9d33-8572765d592b" providerId="AD" clId="Web-{AC5E249F-4AD8-EC7C-FB2F-902F01AC2000}" dt="2023-10-27T16:23:25.530" v="410" actId="1076"/>
          <ac:spMkLst>
            <pc:docMk/>
            <pc:sldMk cId="4283907660" sldId="580"/>
            <ac:spMk id="20" creationId="{00000000-0000-0000-0000-000000000000}"/>
          </ac:spMkLst>
        </pc:spChg>
        <pc:spChg chg="mod">
          <ac:chgData name="Eileen Fleming Suse" userId="S::efs3844@ads.northwestern.edu::725c94ef-d051-42d7-9d33-8572765d592b" providerId="AD" clId="Web-{AC5E249F-4AD8-EC7C-FB2F-902F01AC2000}" dt="2023-10-27T16:23:06.342" v="405" actId="1076"/>
          <ac:spMkLst>
            <pc:docMk/>
            <pc:sldMk cId="4283907660" sldId="580"/>
            <ac:spMk id="65" creationId="{00000000-0000-0000-0000-000000000000}"/>
          </ac:spMkLst>
        </pc:spChg>
        <pc:spChg chg="mod">
          <ac:chgData name="Eileen Fleming Suse" userId="S::efs3844@ads.northwestern.edu::725c94ef-d051-42d7-9d33-8572765d592b" providerId="AD" clId="Web-{AC5E249F-4AD8-EC7C-FB2F-902F01AC2000}" dt="2023-10-27T16:24:18.438" v="425" actId="20577"/>
          <ac:spMkLst>
            <pc:docMk/>
            <pc:sldMk cId="4283907660" sldId="580"/>
            <ac:spMk id="66" creationId="{00000000-0000-0000-0000-000000000000}"/>
          </ac:spMkLst>
        </pc:spChg>
        <pc:grpChg chg="mod">
          <ac:chgData name="Eileen Fleming Suse" userId="S::efs3844@ads.northwestern.edu::725c94ef-d051-42d7-9d33-8572765d592b" providerId="AD" clId="Web-{AC5E249F-4AD8-EC7C-FB2F-902F01AC2000}" dt="2023-10-27T16:23:06.311" v="404" actId="1076"/>
          <ac:grpSpMkLst>
            <pc:docMk/>
            <pc:sldMk cId="4283907660" sldId="580"/>
            <ac:grpSpMk id="41" creationId="{00000000-0000-0000-0000-000000000000}"/>
          </ac:grpSpMkLst>
        </pc:grpChg>
        <pc:grpChg chg="mod">
          <ac:chgData name="Eileen Fleming Suse" userId="S::efs3844@ads.northwestern.edu::725c94ef-d051-42d7-9d33-8572765d592b" providerId="AD" clId="Web-{AC5E249F-4AD8-EC7C-FB2F-902F01AC2000}" dt="2023-10-27T16:23:25.562" v="411" actId="1076"/>
          <ac:grpSpMkLst>
            <pc:docMk/>
            <pc:sldMk cId="4283907660" sldId="580"/>
            <ac:grpSpMk id="44" creationId="{00000000-0000-0000-0000-000000000000}"/>
          </ac:grpSpMkLst>
        </pc:grpChg>
        <pc:cxnChg chg="add mod ord">
          <ac:chgData name="Eileen Fleming Suse" userId="S::efs3844@ads.northwestern.edu::725c94ef-d051-42d7-9d33-8572765d592b" providerId="AD" clId="Web-{AC5E249F-4AD8-EC7C-FB2F-902F01AC2000}" dt="2023-10-27T16:22:36.779" v="396"/>
          <ac:cxnSpMkLst>
            <pc:docMk/>
            <pc:sldMk cId="4283907660" sldId="580"/>
            <ac:cxnSpMk id="70" creationId="{FAB1A723-05C8-C0B8-46CD-6CEC5D6BBD04}"/>
          </ac:cxnSpMkLst>
        </pc:cxnChg>
        <pc:cxnChg chg="add mod ord">
          <ac:chgData name="Eileen Fleming Suse" userId="S::efs3844@ads.northwestern.edu::725c94ef-d051-42d7-9d33-8572765d592b" providerId="AD" clId="Web-{AC5E249F-4AD8-EC7C-FB2F-902F01AC2000}" dt="2023-10-27T16:22:30.654" v="395"/>
          <ac:cxnSpMkLst>
            <pc:docMk/>
            <pc:sldMk cId="4283907660" sldId="580"/>
            <ac:cxnSpMk id="72" creationId="{707187BC-B253-F405-832D-75199CFA7D3B}"/>
          </ac:cxnSpMkLst>
        </pc:cxnChg>
        <pc:cxnChg chg="add mod">
          <ac:chgData name="Eileen Fleming Suse" userId="S::efs3844@ads.northwestern.edu::725c94ef-d051-42d7-9d33-8572765d592b" providerId="AD" clId="Web-{AC5E249F-4AD8-EC7C-FB2F-902F01AC2000}" dt="2023-10-27T16:23:09.358" v="406" actId="14100"/>
          <ac:cxnSpMkLst>
            <pc:docMk/>
            <pc:sldMk cId="4283907660" sldId="580"/>
            <ac:cxnSpMk id="74" creationId="{34699683-48B1-C584-C969-0FC12DE6D30A}"/>
          </ac:cxnSpMkLst>
        </pc:cxnChg>
        <pc:cxnChg chg="add mod">
          <ac:chgData name="Eileen Fleming Suse" userId="S::efs3844@ads.northwestern.edu::725c94ef-d051-42d7-9d33-8572765d592b" providerId="AD" clId="Web-{AC5E249F-4AD8-EC7C-FB2F-902F01AC2000}" dt="2023-10-27T16:23:30.609" v="414" actId="14100"/>
          <ac:cxnSpMkLst>
            <pc:docMk/>
            <pc:sldMk cId="4283907660" sldId="580"/>
            <ac:cxnSpMk id="76" creationId="{5FBD65C4-D121-6BFF-7A20-CC716D7037AD}"/>
          </ac:cxnSpMkLst>
        </pc:cxnChg>
        <pc:cxnChg chg="add mod">
          <ac:chgData name="Eileen Fleming Suse" userId="S::efs3844@ads.northwestern.edu::725c94ef-d051-42d7-9d33-8572765d592b" providerId="AD" clId="Web-{AC5E249F-4AD8-EC7C-FB2F-902F01AC2000}" dt="2023-10-27T16:23:13.718" v="408" actId="14100"/>
          <ac:cxnSpMkLst>
            <pc:docMk/>
            <pc:sldMk cId="4283907660" sldId="580"/>
            <ac:cxnSpMk id="78" creationId="{DFA24459-913C-819C-1FB9-882C0D69503C}"/>
          </ac:cxnSpMkLst>
        </pc:cxnChg>
        <pc:cxnChg chg="add mod">
          <ac:chgData name="Eileen Fleming Suse" userId="S::efs3844@ads.northwestern.edu::725c94ef-d051-42d7-9d33-8572765d592b" providerId="AD" clId="Web-{AC5E249F-4AD8-EC7C-FB2F-902F01AC2000}" dt="2023-10-27T16:23:52.859" v="419" actId="14100"/>
          <ac:cxnSpMkLst>
            <pc:docMk/>
            <pc:sldMk cId="4283907660" sldId="580"/>
            <ac:cxnSpMk id="80" creationId="{D146EC0A-53E9-15A6-4F6B-C7F1AE321A03}"/>
          </ac:cxnSpMkLst>
        </pc:cxnChg>
      </pc:sldChg>
      <pc:sldChg chg="addSp modSp">
        <pc:chgData name="Eileen Fleming Suse" userId="S::efs3844@ads.northwestern.edu::725c94ef-d051-42d7-9d33-8572765d592b" providerId="AD" clId="Web-{AC5E249F-4AD8-EC7C-FB2F-902F01AC2000}" dt="2023-10-27T16:21:31.137" v="386"/>
        <pc:sldMkLst>
          <pc:docMk/>
          <pc:sldMk cId="3429940818" sldId="581"/>
        </pc:sldMkLst>
        <pc:spChg chg="mod">
          <ac:chgData name="Eileen Fleming Suse" userId="S::efs3844@ads.northwestern.edu::725c94ef-d051-42d7-9d33-8572765d592b" providerId="AD" clId="Web-{AC5E249F-4AD8-EC7C-FB2F-902F01AC2000}" dt="2023-10-26T22:18:16.087" v="279" actId="1076"/>
          <ac:spMkLst>
            <pc:docMk/>
            <pc:sldMk cId="3429940818" sldId="581"/>
            <ac:spMk id="41" creationId="{00000000-0000-0000-0000-000000000000}"/>
          </ac:spMkLst>
        </pc:spChg>
        <pc:spChg chg="mod">
          <ac:chgData name="Eileen Fleming Suse" userId="S::efs3844@ads.northwestern.edu::725c94ef-d051-42d7-9d33-8572765d592b" providerId="AD" clId="Web-{AC5E249F-4AD8-EC7C-FB2F-902F01AC2000}" dt="2023-10-26T22:18:05.962" v="278" actId="14100"/>
          <ac:spMkLst>
            <pc:docMk/>
            <pc:sldMk cId="3429940818" sldId="581"/>
            <ac:spMk id="62" creationId="{00000000-0000-0000-0000-000000000000}"/>
          </ac:spMkLst>
        </pc:spChg>
        <pc:cxnChg chg="add mod">
          <ac:chgData name="Eileen Fleming Suse" userId="S::efs3844@ads.northwestern.edu::725c94ef-d051-42d7-9d33-8572765d592b" providerId="AD" clId="Web-{AC5E249F-4AD8-EC7C-FB2F-902F01AC2000}" dt="2023-10-27T16:19:43.727" v="367" actId="14100"/>
          <ac:cxnSpMkLst>
            <pc:docMk/>
            <pc:sldMk cId="3429940818" sldId="581"/>
            <ac:cxnSpMk id="72" creationId="{9DABEE7E-8BD3-4674-2C98-8E4DD5FD2BA4}"/>
          </ac:cxnSpMkLst>
        </pc:cxnChg>
        <pc:cxnChg chg="add mod">
          <ac:chgData name="Eileen Fleming Suse" userId="S::efs3844@ads.northwestern.edu::725c94ef-d051-42d7-9d33-8572765d592b" providerId="AD" clId="Web-{AC5E249F-4AD8-EC7C-FB2F-902F01AC2000}" dt="2023-10-27T16:19:49.212" v="369" actId="1076"/>
          <ac:cxnSpMkLst>
            <pc:docMk/>
            <pc:sldMk cId="3429940818" sldId="581"/>
            <ac:cxnSpMk id="74" creationId="{BEC4BABB-43C9-9000-ED55-9524836704C3}"/>
          </ac:cxnSpMkLst>
        </pc:cxnChg>
        <pc:cxnChg chg="add mod">
          <ac:chgData name="Eileen Fleming Suse" userId="S::efs3844@ads.northwestern.edu::725c94ef-d051-42d7-9d33-8572765d592b" providerId="AD" clId="Web-{AC5E249F-4AD8-EC7C-FB2F-902F01AC2000}" dt="2023-10-27T16:19:57.868" v="372" actId="14100"/>
          <ac:cxnSpMkLst>
            <pc:docMk/>
            <pc:sldMk cId="3429940818" sldId="581"/>
            <ac:cxnSpMk id="76" creationId="{144ECC94-4093-ABB7-73BA-06FC54548E83}"/>
          </ac:cxnSpMkLst>
        </pc:cxnChg>
        <pc:cxnChg chg="add mod">
          <ac:chgData name="Eileen Fleming Suse" userId="S::efs3844@ads.northwestern.edu::725c94ef-d051-42d7-9d33-8572765d592b" providerId="AD" clId="Web-{AC5E249F-4AD8-EC7C-FB2F-902F01AC2000}" dt="2023-10-27T16:20:22.697" v="379" actId="14100"/>
          <ac:cxnSpMkLst>
            <pc:docMk/>
            <pc:sldMk cId="3429940818" sldId="581"/>
            <ac:cxnSpMk id="78" creationId="{8982FD92-CD8A-7CA9-6F98-CE88B54846B1}"/>
          </ac:cxnSpMkLst>
        </pc:cxnChg>
        <pc:cxnChg chg="add mod ord">
          <ac:chgData name="Eileen Fleming Suse" userId="S::efs3844@ads.northwestern.edu::725c94ef-d051-42d7-9d33-8572765d592b" providerId="AD" clId="Web-{AC5E249F-4AD8-EC7C-FB2F-902F01AC2000}" dt="2023-10-27T16:21:31.137" v="386"/>
          <ac:cxnSpMkLst>
            <pc:docMk/>
            <pc:sldMk cId="3429940818" sldId="581"/>
            <ac:cxnSpMk id="80" creationId="{CAF7AEDC-38D6-4104-8736-1AFA4E6298B5}"/>
          </ac:cxnSpMkLst>
        </pc:cxnChg>
        <pc:cxnChg chg="add mod ord">
          <ac:chgData name="Eileen Fleming Suse" userId="S::efs3844@ads.northwestern.edu::725c94ef-d051-42d7-9d33-8572765d592b" providerId="AD" clId="Web-{AC5E249F-4AD8-EC7C-FB2F-902F01AC2000}" dt="2023-10-27T16:20:51.464" v="385"/>
          <ac:cxnSpMkLst>
            <pc:docMk/>
            <pc:sldMk cId="3429940818" sldId="581"/>
            <ac:cxnSpMk id="82" creationId="{EB8EE064-ABA2-EBF9-9A28-B95446D8989F}"/>
          </ac:cxnSpMkLst>
        </pc:cxnChg>
      </pc:sldChg>
      <pc:sldChg chg="modSp del">
        <pc:chgData name="Eileen Fleming Suse" userId="S::efs3844@ads.northwestern.edu::725c94ef-d051-42d7-9d33-8572765d592b" providerId="AD" clId="Web-{AC5E249F-4AD8-EC7C-FB2F-902F01AC2000}" dt="2023-10-27T16:07:11.566" v="344"/>
        <pc:sldMkLst>
          <pc:docMk/>
          <pc:sldMk cId="4156128006" sldId="582"/>
        </pc:sldMkLst>
        <pc:spChg chg="mod">
          <ac:chgData name="Eileen Fleming Suse" userId="S::efs3844@ads.northwestern.edu::725c94ef-d051-42d7-9d33-8572765d592b" providerId="AD" clId="Web-{AC5E249F-4AD8-EC7C-FB2F-902F01AC2000}" dt="2023-10-27T16:06:53.925" v="343" actId="1076"/>
          <ac:spMkLst>
            <pc:docMk/>
            <pc:sldMk cId="4156128006" sldId="582"/>
            <ac:spMk id="33" creationId="{00000000-0000-0000-0000-000000000000}"/>
          </ac:spMkLst>
        </pc:spChg>
      </pc:sldChg>
      <pc:sldChg chg="addSp modSp add ord">
        <pc:chgData name="Eileen Fleming Suse" userId="S::efs3844@ads.northwestern.edu::725c94ef-d051-42d7-9d33-8572765d592b" providerId="AD" clId="Web-{AC5E249F-4AD8-EC7C-FB2F-902F01AC2000}" dt="2023-10-27T16:15:16.423" v="349" actId="20577"/>
        <pc:sldMkLst>
          <pc:docMk/>
          <pc:sldMk cId="3561966490" sldId="585"/>
        </pc:sldMkLst>
        <pc:spChg chg="mod">
          <ac:chgData name="Eileen Fleming Suse" userId="S::efs3844@ads.northwestern.edu::725c94ef-d051-42d7-9d33-8572765d592b" providerId="AD" clId="Web-{AC5E249F-4AD8-EC7C-FB2F-902F01AC2000}" dt="2023-10-26T21:47:17.828" v="29" actId="1076"/>
          <ac:spMkLst>
            <pc:docMk/>
            <pc:sldMk cId="3561966490" sldId="585"/>
            <ac:spMk id="4" creationId="{00000000-0000-0000-0000-000000000000}"/>
          </ac:spMkLst>
        </pc:spChg>
        <pc:spChg chg="mod">
          <ac:chgData name="Eileen Fleming Suse" userId="S::efs3844@ads.northwestern.edu::725c94ef-d051-42d7-9d33-8572765d592b" providerId="AD" clId="Web-{AC5E249F-4AD8-EC7C-FB2F-902F01AC2000}" dt="2023-10-26T21:47:17.281" v="28" actId="1076"/>
          <ac:spMkLst>
            <pc:docMk/>
            <pc:sldMk cId="3561966490" sldId="585"/>
            <ac:spMk id="19" creationId="{00000000-0000-0000-0000-000000000000}"/>
          </ac:spMkLst>
        </pc:spChg>
        <pc:spChg chg="mod">
          <ac:chgData name="Eileen Fleming Suse" userId="S::efs3844@ads.northwestern.edu::725c94ef-d051-42d7-9d33-8572765d592b" providerId="AD" clId="Web-{AC5E249F-4AD8-EC7C-FB2F-902F01AC2000}" dt="2023-10-27T16:15:16.423" v="349" actId="20577"/>
          <ac:spMkLst>
            <pc:docMk/>
            <pc:sldMk cId="3561966490" sldId="585"/>
            <ac:spMk id="21" creationId="{00000000-0000-0000-0000-000000000000}"/>
          </ac:spMkLst>
        </pc:spChg>
        <pc:spChg chg="add mod">
          <ac:chgData name="Eileen Fleming Suse" userId="S::efs3844@ads.northwestern.edu::725c94ef-d051-42d7-9d33-8572765d592b" providerId="AD" clId="Web-{AC5E249F-4AD8-EC7C-FB2F-902F01AC2000}" dt="2023-10-26T21:47:17.938" v="30" actId="1076"/>
          <ac:spMkLst>
            <pc:docMk/>
            <pc:sldMk cId="3561966490" sldId="585"/>
            <ac:spMk id="24" creationId="{A8E8476A-44CA-2C4D-B3E7-31C44865373F}"/>
          </ac:spMkLst>
        </pc:spChg>
      </pc:sldChg>
      <pc:sldChg chg="addSp delSp modSp add ord">
        <pc:chgData name="Eileen Fleming Suse" userId="S::efs3844@ads.northwestern.edu::725c94ef-d051-42d7-9d33-8572765d592b" providerId="AD" clId="Web-{AC5E249F-4AD8-EC7C-FB2F-902F01AC2000}" dt="2023-10-27T16:15:54.174" v="364" actId="14100"/>
        <pc:sldMkLst>
          <pc:docMk/>
          <pc:sldMk cId="3809547791" sldId="586"/>
        </pc:sldMkLst>
        <pc:spChg chg="del">
          <ac:chgData name="Eileen Fleming Suse" userId="S::efs3844@ads.northwestern.edu::725c94ef-d051-42d7-9d33-8572765d592b" providerId="AD" clId="Web-{AC5E249F-4AD8-EC7C-FB2F-902F01AC2000}" dt="2023-10-26T21:47:33.578" v="33"/>
          <ac:spMkLst>
            <pc:docMk/>
            <pc:sldMk cId="3809547791" sldId="586"/>
            <ac:spMk id="4" creationId="{00000000-0000-0000-0000-000000000000}"/>
          </ac:spMkLst>
        </pc:spChg>
        <pc:spChg chg="del mod">
          <ac:chgData name="Eileen Fleming Suse" userId="S::efs3844@ads.northwestern.edu::725c94ef-d051-42d7-9d33-8572765d592b" providerId="AD" clId="Web-{AC5E249F-4AD8-EC7C-FB2F-902F01AC2000}" dt="2023-10-26T21:47:33.516" v="32"/>
          <ac:spMkLst>
            <pc:docMk/>
            <pc:sldMk cId="3809547791" sldId="586"/>
            <ac:spMk id="37" creationId="{00000000-0000-0000-0000-000000000000}"/>
          </ac:spMkLst>
        </pc:spChg>
        <pc:spChg chg="mod">
          <ac:chgData name="Eileen Fleming Suse" userId="S::efs3844@ads.northwestern.edu::725c94ef-d051-42d7-9d33-8572765d592b" providerId="AD" clId="Web-{AC5E249F-4AD8-EC7C-FB2F-902F01AC2000}" dt="2023-10-27T16:15:54.174" v="364" actId="14100"/>
          <ac:spMkLst>
            <pc:docMk/>
            <pc:sldMk cId="3809547791" sldId="586"/>
            <ac:spMk id="41" creationId="{00000000-0000-0000-0000-000000000000}"/>
          </ac:spMkLst>
        </pc:spChg>
        <pc:spChg chg="mod">
          <ac:chgData name="Eileen Fleming Suse" userId="S::efs3844@ads.northwestern.edu::725c94ef-d051-42d7-9d33-8572765d592b" providerId="AD" clId="Web-{AC5E249F-4AD8-EC7C-FB2F-902F01AC2000}" dt="2023-10-26T21:46:19.794" v="20" actId="20577"/>
          <ac:spMkLst>
            <pc:docMk/>
            <pc:sldMk cId="3809547791" sldId="586"/>
            <ac:spMk id="42" creationId="{00000000-0000-0000-0000-000000000000}"/>
          </ac:spMkLst>
        </pc:spChg>
        <pc:spChg chg="add">
          <ac:chgData name="Eileen Fleming Suse" userId="S::efs3844@ads.northwestern.edu::725c94ef-d051-42d7-9d33-8572765d592b" providerId="AD" clId="Web-{AC5E249F-4AD8-EC7C-FB2F-902F01AC2000}" dt="2023-10-26T21:47:33.735" v="34"/>
          <ac:spMkLst>
            <pc:docMk/>
            <pc:sldMk cId="3809547791" sldId="586"/>
            <ac:spMk id="45" creationId="{C77E478B-4FF6-99F3-8EF6-9EC4CBF20CDC}"/>
          </ac:spMkLst>
        </pc:spChg>
        <pc:spChg chg="add">
          <ac:chgData name="Eileen Fleming Suse" userId="S::efs3844@ads.northwestern.edu::725c94ef-d051-42d7-9d33-8572765d592b" providerId="AD" clId="Web-{AC5E249F-4AD8-EC7C-FB2F-902F01AC2000}" dt="2023-10-26T21:47:33.750" v="35"/>
          <ac:spMkLst>
            <pc:docMk/>
            <pc:sldMk cId="3809547791" sldId="586"/>
            <ac:spMk id="47" creationId="{B8E0B5F5-B6A2-711D-2F6F-422E5E01B221}"/>
          </ac:spMkLst>
        </pc:spChg>
        <pc:spChg chg="add">
          <ac:chgData name="Eileen Fleming Suse" userId="S::efs3844@ads.northwestern.edu::725c94ef-d051-42d7-9d33-8572765d592b" providerId="AD" clId="Web-{AC5E249F-4AD8-EC7C-FB2F-902F01AC2000}" dt="2023-10-26T21:47:33.781" v="36"/>
          <ac:spMkLst>
            <pc:docMk/>
            <pc:sldMk cId="3809547791" sldId="586"/>
            <ac:spMk id="49" creationId="{725D5EF5-B77D-B401-7AC5-22CFBF1AA913}"/>
          </ac:spMkLst>
        </pc:spChg>
      </pc:sldChg>
      <pc:sldChg chg="addSp delSp modSp add ord">
        <pc:chgData name="Eileen Fleming Suse" userId="S::efs3844@ads.northwestern.edu::725c94ef-d051-42d7-9d33-8572765d592b" providerId="AD" clId="Web-{AC5E249F-4AD8-EC7C-FB2F-902F01AC2000}" dt="2023-10-27T16:13:30.342" v="345" actId="1076"/>
        <pc:sldMkLst>
          <pc:docMk/>
          <pc:sldMk cId="1598854783" sldId="587"/>
        </pc:sldMkLst>
        <pc:spChg chg="del">
          <ac:chgData name="Eileen Fleming Suse" userId="S::efs3844@ads.northwestern.edu::725c94ef-d051-42d7-9d33-8572765d592b" providerId="AD" clId="Web-{AC5E249F-4AD8-EC7C-FB2F-902F01AC2000}" dt="2023-10-26T21:48:54.894" v="58"/>
          <ac:spMkLst>
            <pc:docMk/>
            <pc:sldMk cId="1598854783" sldId="587"/>
            <ac:spMk id="31" creationId="{00000000-0000-0000-0000-000000000000}"/>
          </ac:spMkLst>
        </pc:spChg>
        <pc:spChg chg="mod">
          <ac:chgData name="Eileen Fleming Suse" userId="S::efs3844@ads.northwestern.edu::725c94ef-d051-42d7-9d33-8572765d592b" providerId="AD" clId="Web-{AC5E249F-4AD8-EC7C-FB2F-902F01AC2000}" dt="2023-10-26T21:52:40.637" v="124" actId="20577"/>
          <ac:spMkLst>
            <pc:docMk/>
            <pc:sldMk cId="1598854783" sldId="587"/>
            <ac:spMk id="36" creationId="{00000000-0000-0000-0000-000000000000}"/>
          </ac:spMkLst>
        </pc:spChg>
        <pc:spChg chg="mod">
          <ac:chgData name="Eileen Fleming Suse" userId="S::efs3844@ads.northwestern.edu::725c94ef-d051-42d7-9d33-8572765d592b" providerId="AD" clId="Web-{AC5E249F-4AD8-EC7C-FB2F-902F01AC2000}" dt="2023-10-26T21:51:27.275" v="105" actId="20577"/>
          <ac:spMkLst>
            <pc:docMk/>
            <pc:sldMk cId="1598854783" sldId="587"/>
            <ac:spMk id="37" creationId="{00000000-0000-0000-0000-000000000000}"/>
          </ac:spMkLst>
        </pc:spChg>
        <pc:spChg chg="mod">
          <ac:chgData name="Eileen Fleming Suse" userId="S::efs3844@ads.northwestern.edu::725c94ef-d051-42d7-9d33-8572765d592b" providerId="AD" clId="Web-{AC5E249F-4AD8-EC7C-FB2F-902F01AC2000}" dt="2023-10-26T21:52:40.387" v="123" actId="20577"/>
          <ac:spMkLst>
            <pc:docMk/>
            <pc:sldMk cId="1598854783" sldId="587"/>
            <ac:spMk id="38" creationId="{00000000-0000-0000-0000-000000000000}"/>
          </ac:spMkLst>
        </pc:spChg>
        <pc:spChg chg="mod">
          <ac:chgData name="Eileen Fleming Suse" userId="S::efs3844@ads.northwestern.edu::725c94ef-d051-42d7-9d33-8572765d592b" providerId="AD" clId="Web-{AC5E249F-4AD8-EC7C-FB2F-902F01AC2000}" dt="2023-10-26T21:51:27.619" v="108" actId="20577"/>
          <ac:spMkLst>
            <pc:docMk/>
            <pc:sldMk cId="1598854783" sldId="587"/>
            <ac:spMk id="39" creationId="{00000000-0000-0000-0000-000000000000}"/>
          </ac:spMkLst>
        </pc:spChg>
        <pc:spChg chg="mod">
          <ac:chgData name="Eileen Fleming Suse" userId="S::efs3844@ads.northwestern.edu::725c94ef-d051-42d7-9d33-8572765d592b" providerId="AD" clId="Web-{AC5E249F-4AD8-EC7C-FB2F-902F01AC2000}" dt="2023-10-26T21:53:11.091" v="133" actId="1076"/>
          <ac:spMkLst>
            <pc:docMk/>
            <pc:sldMk cId="1598854783" sldId="587"/>
            <ac:spMk id="40" creationId="{00000000-0000-0000-0000-000000000000}"/>
          </ac:spMkLst>
        </pc:spChg>
        <pc:spChg chg="mod">
          <ac:chgData name="Eileen Fleming Suse" userId="S::efs3844@ads.northwestern.edu::725c94ef-d051-42d7-9d33-8572765d592b" providerId="AD" clId="Web-{AC5E249F-4AD8-EC7C-FB2F-902F01AC2000}" dt="2023-10-26T21:52:55.356" v="128" actId="20577"/>
          <ac:spMkLst>
            <pc:docMk/>
            <pc:sldMk cId="1598854783" sldId="587"/>
            <ac:spMk id="42" creationId="{00000000-0000-0000-0000-000000000000}"/>
          </ac:spMkLst>
        </pc:spChg>
        <pc:spChg chg="mod">
          <ac:chgData name="Eileen Fleming Suse" userId="S::efs3844@ads.northwestern.edu::725c94ef-d051-42d7-9d33-8572765d592b" providerId="AD" clId="Web-{AC5E249F-4AD8-EC7C-FB2F-902F01AC2000}" dt="2023-10-26T21:51:31.041" v="110" actId="20577"/>
          <ac:spMkLst>
            <pc:docMk/>
            <pc:sldMk cId="1598854783" sldId="587"/>
            <ac:spMk id="43" creationId="{00000000-0000-0000-0000-000000000000}"/>
          </ac:spMkLst>
        </pc:spChg>
        <pc:spChg chg="mod">
          <ac:chgData name="Eileen Fleming Suse" userId="S::efs3844@ads.northwestern.edu::725c94ef-d051-42d7-9d33-8572765d592b" providerId="AD" clId="Web-{AC5E249F-4AD8-EC7C-FB2F-902F01AC2000}" dt="2023-10-26T21:48:56.488" v="65" actId="1076"/>
          <ac:spMkLst>
            <pc:docMk/>
            <pc:sldMk cId="1598854783" sldId="587"/>
            <ac:spMk id="45" creationId="{00000000-0000-0000-0000-000000000000}"/>
          </ac:spMkLst>
        </pc:spChg>
        <pc:spChg chg="del mod">
          <ac:chgData name="Eileen Fleming Suse" userId="S::efs3844@ads.northwestern.edu::725c94ef-d051-42d7-9d33-8572765d592b" providerId="AD" clId="Web-{AC5E249F-4AD8-EC7C-FB2F-902F01AC2000}" dt="2023-10-26T21:48:55.363" v="61"/>
          <ac:spMkLst>
            <pc:docMk/>
            <pc:sldMk cId="1598854783" sldId="587"/>
            <ac:spMk id="46" creationId="{00000000-0000-0000-0000-000000000000}"/>
          </ac:spMkLst>
        </pc:spChg>
        <pc:spChg chg="mod">
          <ac:chgData name="Eileen Fleming Suse" userId="S::efs3844@ads.northwestern.edu::725c94ef-d051-42d7-9d33-8572765d592b" providerId="AD" clId="Web-{AC5E249F-4AD8-EC7C-FB2F-902F01AC2000}" dt="2023-10-27T16:13:30.342" v="345" actId="1076"/>
          <ac:spMkLst>
            <pc:docMk/>
            <pc:sldMk cId="1598854783" sldId="587"/>
            <ac:spMk id="47" creationId="{00000000-0000-0000-0000-000000000000}"/>
          </ac:spMkLst>
        </pc:spChg>
        <pc:spChg chg="add">
          <ac:chgData name="Eileen Fleming Suse" userId="S::efs3844@ads.northwestern.edu::725c94ef-d051-42d7-9d33-8572765d592b" providerId="AD" clId="Web-{AC5E249F-4AD8-EC7C-FB2F-902F01AC2000}" dt="2023-10-26T21:48:55.675" v="62"/>
          <ac:spMkLst>
            <pc:docMk/>
            <pc:sldMk cId="1598854783" sldId="587"/>
            <ac:spMk id="49" creationId="{E2210AC7-88E9-3DF2-B6FD-284390179A81}"/>
          </ac:spMkLst>
        </pc:spChg>
        <pc:spChg chg="add">
          <ac:chgData name="Eileen Fleming Suse" userId="S::efs3844@ads.northwestern.edu::725c94ef-d051-42d7-9d33-8572765d592b" providerId="AD" clId="Web-{AC5E249F-4AD8-EC7C-FB2F-902F01AC2000}" dt="2023-10-26T21:48:55.707" v="63"/>
          <ac:spMkLst>
            <pc:docMk/>
            <pc:sldMk cId="1598854783" sldId="587"/>
            <ac:spMk id="51" creationId="{24A2DEC9-4CC0-CBF0-5D9A-524D9EFAEE1C}"/>
          </ac:spMkLst>
        </pc:spChg>
        <pc:spChg chg="add">
          <ac:chgData name="Eileen Fleming Suse" userId="S::efs3844@ads.northwestern.edu::725c94ef-d051-42d7-9d33-8572765d592b" providerId="AD" clId="Web-{AC5E249F-4AD8-EC7C-FB2F-902F01AC2000}" dt="2023-10-26T21:48:55.738" v="64"/>
          <ac:spMkLst>
            <pc:docMk/>
            <pc:sldMk cId="1598854783" sldId="587"/>
            <ac:spMk id="53" creationId="{0E0706BB-4123-83DA-E93A-66A50F4484A3}"/>
          </ac:spMkLst>
        </pc:spChg>
      </pc:sldChg>
      <pc:sldChg chg="addSp delSp modSp add ord">
        <pc:chgData name="Eileen Fleming Suse" userId="S::efs3844@ads.northwestern.edu::725c94ef-d051-42d7-9d33-8572765d592b" providerId="AD" clId="Web-{AC5E249F-4AD8-EC7C-FB2F-902F01AC2000}" dt="2023-10-26T21:51:10.837" v="103" actId="1076"/>
        <pc:sldMkLst>
          <pc:docMk/>
          <pc:sldMk cId="3832963388" sldId="588"/>
        </pc:sldMkLst>
        <pc:spChg chg="del">
          <ac:chgData name="Eileen Fleming Suse" userId="S::efs3844@ads.northwestern.edu::725c94ef-d051-42d7-9d33-8572765d592b" providerId="AD" clId="Web-{AC5E249F-4AD8-EC7C-FB2F-902F01AC2000}" dt="2023-10-26T21:49:27.208" v="68"/>
          <ac:spMkLst>
            <pc:docMk/>
            <pc:sldMk cId="3832963388" sldId="588"/>
            <ac:spMk id="4" creationId="{00000000-0000-0000-0000-000000000000}"/>
          </ac:spMkLst>
        </pc:spChg>
        <pc:spChg chg="mod">
          <ac:chgData name="Eileen Fleming Suse" userId="S::efs3844@ads.northwestern.edu::725c94ef-d051-42d7-9d33-8572765d592b" providerId="AD" clId="Web-{AC5E249F-4AD8-EC7C-FB2F-902F01AC2000}" dt="2023-10-26T21:51:10.602" v="98" actId="1076"/>
          <ac:spMkLst>
            <pc:docMk/>
            <pc:sldMk cId="3832963388" sldId="588"/>
            <ac:spMk id="15" creationId="{00000000-0000-0000-0000-000000000000}"/>
          </ac:spMkLst>
        </pc:spChg>
        <pc:spChg chg="mod">
          <ac:chgData name="Eileen Fleming Suse" userId="S::efs3844@ads.northwestern.edu::725c94ef-d051-42d7-9d33-8572765d592b" providerId="AD" clId="Web-{AC5E249F-4AD8-EC7C-FB2F-902F01AC2000}" dt="2023-10-26T21:51:10.634" v="99" actId="1076"/>
          <ac:spMkLst>
            <pc:docMk/>
            <pc:sldMk cId="3832963388" sldId="588"/>
            <ac:spMk id="16" creationId="{00000000-0000-0000-0000-000000000000}"/>
          </ac:spMkLst>
        </pc:spChg>
        <pc:spChg chg="mod">
          <ac:chgData name="Eileen Fleming Suse" userId="S::efs3844@ads.northwestern.edu::725c94ef-d051-42d7-9d33-8572765d592b" providerId="AD" clId="Web-{AC5E249F-4AD8-EC7C-FB2F-902F01AC2000}" dt="2023-10-26T21:51:10.680" v="100" actId="1076"/>
          <ac:spMkLst>
            <pc:docMk/>
            <pc:sldMk cId="3832963388" sldId="588"/>
            <ac:spMk id="17" creationId="{00000000-0000-0000-0000-000000000000}"/>
          </ac:spMkLst>
        </pc:spChg>
        <pc:spChg chg="mod">
          <ac:chgData name="Eileen Fleming Suse" userId="S::efs3844@ads.northwestern.edu::725c94ef-d051-42d7-9d33-8572765d592b" providerId="AD" clId="Web-{AC5E249F-4AD8-EC7C-FB2F-902F01AC2000}" dt="2023-10-26T21:51:10.743" v="101" actId="1076"/>
          <ac:spMkLst>
            <pc:docMk/>
            <pc:sldMk cId="3832963388" sldId="588"/>
            <ac:spMk id="18" creationId="{00000000-0000-0000-0000-000000000000}"/>
          </ac:spMkLst>
        </pc:spChg>
        <pc:spChg chg="mod">
          <ac:chgData name="Eileen Fleming Suse" userId="S::efs3844@ads.northwestern.edu::725c94ef-d051-42d7-9d33-8572765d592b" providerId="AD" clId="Web-{AC5E249F-4AD8-EC7C-FB2F-902F01AC2000}" dt="2023-10-26T21:51:10.790" v="102" actId="1076"/>
          <ac:spMkLst>
            <pc:docMk/>
            <pc:sldMk cId="3832963388" sldId="588"/>
            <ac:spMk id="19" creationId="{00000000-0000-0000-0000-000000000000}"/>
          </ac:spMkLst>
        </pc:spChg>
        <pc:spChg chg="mod">
          <ac:chgData name="Eileen Fleming Suse" userId="S::efs3844@ads.northwestern.edu::725c94ef-d051-42d7-9d33-8572765d592b" providerId="AD" clId="Web-{AC5E249F-4AD8-EC7C-FB2F-902F01AC2000}" dt="2023-10-26T21:51:10.837" v="103" actId="1076"/>
          <ac:spMkLst>
            <pc:docMk/>
            <pc:sldMk cId="3832963388" sldId="588"/>
            <ac:spMk id="20" creationId="{00000000-0000-0000-0000-000000000000}"/>
          </ac:spMkLst>
        </pc:spChg>
        <pc:spChg chg="mod">
          <ac:chgData name="Eileen Fleming Suse" userId="S::efs3844@ads.northwestern.edu::725c94ef-d051-42d7-9d33-8572765d592b" providerId="AD" clId="Web-{AC5E249F-4AD8-EC7C-FB2F-902F01AC2000}" dt="2023-10-26T21:49:27.723" v="72" actId="1076"/>
          <ac:spMkLst>
            <pc:docMk/>
            <pc:sldMk cId="3832963388" sldId="588"/>
            <ac:spMk id="22" creationId="{00000000-0000-0000-0000-000000000000}"/>
          </ac:spMkLst>
        </pc:spChg>
        <pc:spChg chg="del">
          <ac:chgData name="Eileen Fleming Suse" userId="S::efs3844@ads.northwestern.edu::725c94ef-d051-42d7-9d33-8572765d592b" providerId="AD" clId="Web-{AC5E249F-4AD8-EC7C-FB2F-902F01AC2000}" dt="2023-10-26T21:49:26.473" v="67"/>
          <ac:spMkLst>
            <pc:docMk/>
            <pc:sldMk cId="3832963388" sldId="588"/>
            <ac:spMk id="23" creationId="{00000000-0000-0000-0000-000000000000}"/>
          </ac:spMkLst>
        </pc:spChg>
        <pc:spChg chg="mod">
          <ac:chgData name="Eileen Fleming Suse" userId="S::efs3844@ads.northwestern.edu::725c94ef-d051-42d7-9d33-8572765d592b" providerId="AD" clId="Web-{AC5E249F-4AD8-EC7C-FB2F-902F01AC2000}" dt="2023-10-26T21:50:41.961" v="91" actId="1076"/>
          <ac:spMkLst>
            <pc:docMk/>
            <pc:sldMk cId="3832963388" sldId="588"/>
            <ac:spMk id="24" creationId="{00000000-0000-0000-0000-000000000000}"/>
          </ac:spMkLst>
        </pc:spChg>
        <pc:spChg chg="mod">
          <ac:chgData name="Eileen Fleming Suse" userId="S::efs3844@ads.northwestern.edu::725c94ef-d051-42d7-9d33-8572765d592b" providerId="AD" clId="Web-{AC5E249F-4AD8-EC7C-FB2F-902F01AC2000}" dt="2023-10-26T21:50:27.913" v="88" actId="1076"/>
          <ac:spMkLst>
            <pc:docMk/>
            <pc:sldMk cId="3832963388" sldId="588"/>
            <ac:spMk id="25" creationId="{00000000-0000-0000-0000-000000000000}"/>
          </ac:spMkLst>
        </pc:spChg>
        <pc:spChg chg="mod">
          <ac:chgData name="Eileen Fleming Suse" userId="S::efs3844@ads.northwestern.edu::725c94ef-d051-42d7-9d33-8572765d592b" providerId="AD" clId="Web-{AC5E249F-4AD8-EC7C-FB2F-902F01AC2000}" dt="2023-10-26T21:50:27.038" v="85" actId="1076"/>
          <ac:spMkLst>
            <pc:docMk/>
            <pc:sldMk cId="3832963388" sldId="588"/>
            <ac:spMk id="26" creationId="{00000000-0000-0000-0000-000000000000}"/>
          </ac:spMkLst>
        </pc:spChg>
        <pc:spChg chg="mod">
          <ac:chgData name="Eileen Fleming Suse" userId="S::efs3844@ads.northwestern.edu::725c94ef-d051-42d7-9d33-8572765d592b" providerId="AD" clId="Web-{AC5E249F-4AD8-EC7C-FB2F-902F01AC2000}" dt="2023-10-26T21:50:56.242" v="94" actId="1076"/>
          <ac:spMkLst>
            <pc:docMk/>
            <pc:sldMk cId="3832963388" sldId="588"/>
            <ac:spMk id="27" creationId="{00000000-0000-0000-0000-000000000000}"/>
          </ac:spMkLst>
        </pc:spChg>
        <pc:spChg chg="mod">
          <ac:chgData name="Eileen Fleming Suse" userId="S::efs3844@ads.northwestern.edu::725c94ef-d051-42d7-9d33-8572765d592b" providerId="AD" clId="Web-{AC5E249F-4AD8-EC7C-FB2F-902F01AC2000}" dt="2023-10-26T21:50:56.274" v="95" actId="1076"/>
          <ac:spMkLst>
            <pc:docMk/>
            <pc:sldMk cId="3832963388" sldId="588"/>
            <ac:spMk id="28" creationId="{00000000-0000-0000-0000-000000000000}"/>
          </ac:spMkLst>
        </pc:spChg>
        <pc:spChg chg="mod">
          <ac:chgData name="Eileen Fleming Suse" userId="S::efs3844@ads.northwestern.edu::725c94ef-d051-42d7-9d33-8572765d592b" providerId="AD" clId="Web-{AC5E249F-4AD8-EC7C-FB2F-902F01AC2000}" dt="2023-10-26T21:50:41.336" v="89" actId="1076"/>
          <ac:spMkLst>
            <pc:docMk/>
            <pc:sldMk cId="3832963388" sldId="588"/>
            <ac:spMk id="29" creationId="{00000000-0000-0000-0000-000000000000}"/>
          </ac:spMkLst>
        </pc:spChg>
        <pc:spChg chg="mod">
          <ac:chgData name="Eileen Fleming Suse" userId="S::efs3844@ads.northwestern.edu::725c94ef-d051-42d7-9d33-8572765d592b" providerId="AD" clId="Web-{AC5E249F-4AD8-EC7C-FB2F-902F01AC2000}" dt="2023-10-26T21:50:27.101" v="86" actId="1076"/>
          <ac:spMkLst>
            <pc:docMk/>
            <pc:sldMk cId="3832963388" sldId="588"/>
            <ac:spMk id="30" creationId="{00000000-0000-0000-0000-000000000000}"/>
          </ac:spMkLst>
        </pc:spChg>
        <pc:spChg chg="mod">
          <ac:chgData name="Eileen Fleming Suse" userId="S::efs3844@ads.northwestern.edu::725c94ef-d051-42d7-9d33-8572765d592b" providerId="AD" clId="Web-{AC5E249F-4AD8-EC7C-FB2F-902F01AC2000}" dt="2023-10-26T21:50:27.163" v="87" actId="1076"/>
          <ac:spMkLst>
            <pc:docMk/>
            <pc:sldMk cId="3832963388" sldId="588"/>
            <ac:spMk id="31" creationId="{00000000-0000-0000-0000-000000000000}"/>
          </ac:spMkLst>
        </pc:spChg>
        <pc:spChg chg="mod">
          <ac:chgData name="Eileen Fleming Suse" userId="S::efs3844@ads.northwestern.edu::725c94ef-d051-42d7-9d33-8572765d592b" providerId="AD" clId="Web-{AC5E249F-4AD8-EC7C-FB2F-902F01AC2000}" dt="2023-10-26T21:50:56.321" v="96" actId="1076"/>
          <ac:spMkLst>
            <pc:docMk/>
            <pc:sldMk cId="3832963388" sldId="588"/>
            <ac:spMk id="32" creationId="{00000000-0000-0000-0000-000000000000}"/>
          </ac:spMkLst>
        </pc:spChg>
        <pc:spChg chg="mod">
          <ac:chgData name="Eileen Fleming Suse" userId="S::efs3844@ads.northwestern.edu::725c94ef-d051-42d7-9d33-8572765d592b" providerId="AD" clId="Web-{AC5E249F-4AD8-EC7C-FB2F-902F01AC2000}" dt="2023-10-26T21:50:56.367" v="97" actId="1076"/>
          <ac:spMkLst>
            <pc:docMk/>
            <pc:sldMk cId="3832963388" sldId="588"/>
            <ac:spMk id="33" creationId="{00000000-0000-0000-0000-000000000000}"/>
          </ac:spMkLst>
        </pc:spChg>
        <pc:spChg chg="mod">
          <ac:chgData name="Eileen Fleming Suse" userId="S::efs3844@ads.northwestern.edu::725c94ef-d051-42d7-9d33-8572765d592b" providerId="AD" clId="Web-{AC5E249F-4AD8-EC7C-FB2F-902F01AC2000}" dt="2023-10-26T21:45:55.043" v="18" actId="20577"/>
          <ac:spMkLst>
            <pc:docMk/>
            <pc:sldMk cId="3832963388" sldId="588"/>
            <ac:spMk id="34" creationId="{00000000-0000-0000-0000-000000000000}"/>
          </ac:spMkLst>
        </pc:spChg>
        <pc:spChg chg="add">
          <ac:chgData name="Eileen Fleming Suse" userId="S::efs3844@ads.northwestern.edu::725c94ef-d051-42d7-9d33-8572765d592b" providerId="AD" clId="Web-{AC5E249F-4AD8-EC7C-FB2F-902F01AC2000}" dt="2023-10-26T21:49:27.426" v="69"/>
          <ac:spMkLst>
            <pc:docMk/>
            <pc:sldMk cId="3832963388" sldId="588"/>
            <ac:spMk id="36" creationId="{3EFC5C80-E693-6C51-4DEF-583812BEAB54}"/>
          </ac:spMkLst>
        </pc:spChg>
        <pc:spChg chg="add">
          <ac:chgData name="Eileen Fleming Suse" userId="S::efs3844@ads.northwestern.edu::725c94ef-d051-42d7-9d33-8572765d592b" providerId="AD" clId="Web-{AC5E249F-4AD8-EC7C-FB2F-902F01AC2000}" dt="2023-10-26T21:49:27.489" v="70"/>
          <ac:spMkLst>
            <pc:docMk/>
            <pc:sldMk cId="3832963388" sldId="588"/>
            <ac:spMk id="38" creationId="{9B32A794-89CE-3CF7-CCFB-FB03BB567C6D}"/>
          </ac:spMkLst>
        </pc:spChg>
        <pc:spChg chg="add">
          <ac:chgData name="Eileen Fleming Suse" userId="S::efs3844@ads.northwestern.edu::725c94ef-d051-42d7-9d33-8572765d592b" providerId="AD" clId="Web-{AC5E249F-4AD8-EC7C-FB2F-902F01AC2000}" dt="2023-10-26T21:49:27.551" v="71"/>
          <ac:spMkLst>
            <pc:docMk/>
            <pc:sldMk cId="3832963388" sldId="588"/>
            <ac:spMk id="40" creationId="{75C1E2E3-7399-8294-DAEC-AEBB0FCAC9D7}"/>
          </ac:spMkLst>
        </pc:spChg>
        <pc:grpChg chg="mod">
          <ac:chgData name="Eileen Fleming Suse" userId="S::efs3844@ads.northwestern.edu::725c94ef-d051-42d7-9d33-8572765d592b" providerId="AD" clId="Web-{AC5E249F-4AD8-EC7C-FB2F-902F01AC2000}" dt="2023-10-26T21:50:56.149" v="92" actId="1076"/>
          <ac:grpSpMkLst>
            <pc:docMk/>
            <pc:sldMk cId="3832963388" sldId="588"/>
            <ac:grpSpMk id="5" creationId="{00000000-0000-0000-0000-000000000000}"/>
          </ac:grpSpMkLst>
        </pc:grpChg>
        <pc:grpChg chg="mod">
          <ac:chgData name="Eileen Fleming Suse" userId="S::efs3844@ads.northwestern.edu::725c94ef-d051-42d7-9d33-8572765d592b" providerId="AD" clId="Web-{AC5E249F-4AD8-EC7C-FB2F-902F01AC2000}" dt="2023-10-26T21:50:26.944" v="83" actId="1076"/>
          <ac:grpSpMkLst>
            <pc:docMk/>
            <pc:sldMk cId="3832963388" sldId="588"/>
            <ac:grpSpMk id="7" creationId="{00000000-0000-0000-0000-000000000000}"/>
          </ac:grpSpMkLst>
        </pc:grpChg>
        <pc:grpChg chg="mod">
          <ac:chgData name="Eileen Fleming Suse" userId="S::efs3844@ads.northwestern.edu::725c94ef-d051-42d7-9d33-8572765d592b" providerId="AD" clId="Web-{AC5E249F-4AD8-EC7C-FB2F-902F01AC2000}" dt="2023-10-26T21:50:26.991" v="84" actId="1076"/>
          <ac:grpSpMkLst>
            <pc:docMk/>
            <pc:sldMk cId="3832963388" sldId="588"/>
            <ac:grpSpMk id="9" creationId="{00000000-0000-0000-0000-000000000000}"/>
          </ac:grpSpMkLst>
        </pc:grpChg>
        <pc:grpChg chg="mod">
          <ac:chgData name="Eileen Fleming Suse" userId="S::efs3844@ads.northwestern.edu::725c94ef-d051-42d7-9d33-8572765d592b" providerId="AD" clId="Web-{AC5E249F-4AD8-EC7C-FB2F-902F01AC2000}" dt="2023-10-26T21:50:41.836" v="90" actId="1076"/>
          <ac:grpSpMkLst>
            <pc:docMk/>
            <pc:sldMk cId="3832963388" sldId="588"/>
            <ac:grpSpMk id="11" creationId="{00000000-0000-0000-0000-000000000000}"/>
          </ac:grpSpMkLst>
        </pc:grpChg>
        <pc:grpChg chg="mod">
          <ac:chgData name="Eileen Fleming Suse" userId="S::efs3844@ads.northwestern.edu::725c94ef-d051-42d7-9d33-8572765d592b" providerId="AD" clId="Web-{AC5E249F-4AD8-EC7C-FB2F-902F01AC2000}" dt="2023-10-26T21:50:56.196" v="93" actId="1076"/>
          <ac:grpSpMkLst>
            <pc:docMk/>
            <pc:sldMk cId="3832963388" sldId="588"/>
            <ac:grpSpMk id="13" creationId="{00000000-0000-0000-0000-000000000000}"/>
          </ac:grpSpMkLst>
        </pc:grpChg>
      </pc:sldChg>
      <pc:sldChg chg="addSp delSp modSp add ord">
        <pc:chgData name="Eileen Fleming Suse" userId="S::efs3844@ads.northwestern.edu::725c94ef-d051-42d7-9d33-8572765d592b" providerId="AD" clId="Web-{AC5E249F-4AD8-EC7C-FB2F-902F01AC2000}" dt="2023-10-27T16:13:42.624" v="346"/>
        <pc:sldMkLst>
          <pc:docMk/>
          <pc:sldMk cId="435998680" sldId="589"/>
        </pc:sldMkLst>
        <pc:spChg chg="del">
          <ac:chgData name="Eileen Fleming Suse" userId="S::efs3844@ads.northwestern.edu::725c94ef-d051-42d7-9d33-8572765d592b" providerId="AD" clId="Web-{AC5E249F-4AD8-EC7C-FB2F-902F01AC2000}" dt="2023-10-26T21:47:48.595" v="38"/>
          <ac:spMkLst>
            <pc:docMk/>
            <pc:sldMk cId="435998680" sldId="589"/>
            <ac:spMk id="4" creationId="{00000000-0000-0000-0000-000000000000}"/>
          </ac:spMkLst>
        </pc:spChg>
        <pc:spChg chg="del mod">
          <ac:chgData name="Eileen Fleming Suse" userId="S::efs3844@ads.northwestern.edu::725c94ef-d051-42d7-9d33-8572765d592b" providerId="AD" clId="Web-{AC5E249F-4AD8-EC7C-FB2F-902F01AC2000}" dt="2023-10-26T21:47:50.360" v="40"/>
          <ac:spMkLst>
            <pc:docMk/>
            <pc:sldMk cId="435998680" sldId="589"/>
            <ac:spMk id="12" creationId="{00000000-0000-0000-0000-000000000000}"/>
          </ac:spMkLst>
        </pc:spChg>
        <pc:spChg chg="mod">
          <ac:chgData name="Eileen Fleming Suse" userId="S::efs3844@ads.northwestern.edu::725c94ef-d051-42d7-9d33-8572765d592b" providerId="AD" clId="Web-{AC5E249F-4AD8-EC7C-FB2F-902F01AC2000}" dt="2023-10-26T21:45:51.981" v="16" actId="20577"/>
          <ac:spMkLst>
            <pc:docMk/>
            <pc:sldMk cId="435998680" sldId="589"/>
            <ac:spMk id="17" creationId="{00000000-0000-0000-0000-000000000000}"/>
          </ac:spMkLst>
        </pc:spChg>
        <pc:spChg chg="add">
          <ac:chgData name="Eileen Fleming Suse" userId="S::efs3844@ads.northwestern.edu::725c94ef-d051-42d7-9d33-8572765d592b" providerId="AD" clId="Web-{AC5E249F-4AD8-EC7C-FB2F-902F01AC2000}" dt="2023-10-26T21:47:51.751" v="41"/>
          <ac:spMkLst>
            <pc:docMk/>
            <pc:sldMk cId="435998680" sldId="589"/>
            <ac:spMk id="19" creationId="{4F38B046-5CD5-F005-45E3-2034830DFD34}"/>
          </ac:spMkLst>
        </pc:spChg>
        <pc:spChg chg="add">
          <ac:chgData name="Eileen Fleming Suse" userId="S::efs3844@ads.northwestern.edu::725c94ef-d051-42d7-9d33-8572765d592b" providerId="AD" clId="Web-{AC5E249F-4AD8-EC7C-FB2F-902F01AC2000}" dt="2023-10-26T21:47:51.798" v="42"/>
          <ac:spMkLst>
            <pc:docMk/>
            <pc:sldMk cId="435998680" sldId="589"/>
            <ac:spMk id="21" creationId="{A35E0C3C-CC22-A1A0-8E94-9EEE65798BD1}"/>
          </ac:spMkLst>
        </pc:spChg>
        <pc:spChg chg="add">
          <ac:chgData name="Eileen Fleming Suse" userId="S::efs3844@ads.northwestern.edu::725c94ef-d051-42d7-9d33-8572765d592b" providerId="AD" clId="Web-{AC5E249F-4AD8-EC7C-FB2F-902F01AC2000}" dt="2023-10-26T21:47:51.813" v="43"/>
          <ac:spMkLst>
            <pc:docMk/>
            <pc:sldMk cId="435998680" sldId="589"/>
            <ac:spMk id="23" creationId="{4187CCE4-601B-24DB-941F-235B18EDE475}"/>
          </ac:spMkLst>
        </pc:spChg>
      </pc:sldChg>
      <pc:sldChg chg="addSp delSp add ord">
        <pc:chgData name="Eileen Fleming Suse" userId="S::efs3844@ads.northwestern.edu::725c94ef-d051-42d7-9d33-8572765d592b" providerId="AD" clId="Web-{AC5E249F-4AD8-EC7C-FB2F-902F01AC2000}" dt="2023-10-26T21:48:38.488" v="55"/>
        <pc:sldMkLst>
          <pc:docMk/>
          <pc:sldMk cId="595546358" sldId="590"/>
        </pc:sldMkLst>
        <pc:spChg chg="del">
          <ac:chgData name="Eileen Fleming Suse" userId="S::efs3844@ads.northwestern.edu::725c94ef-d051-42d7-9d33-8572765d592b" providerId="AD" clId="Web-{AC5E249F-4AD8-EC7C-FB2F-902F01AC2000}" dt="2023-10-26T21:48:24.174" v="49"/>
          <ac:spMkLst>
            <pc:docMk/>
            <pc:sldMk cId="595546358" sldId="590"/>
            <ac:spMk id="4" creationId="{00000000-0000-0000-0000-000000000000}"/>
          </ac:spMkLst>
        </pc:spChg>
        <pc:spChg chg="del">
          <ac:chgData name="Eileen Fleming Suse" userId="S::efs3844@ads.northwestern.edu::725c94ef-d051-42d7-9d33-8572765d592b" providerId="AD" clId="Web-{AC5E249F-4AD8-EC7C-FB2F-902F01AC2000}" dt="2023-10-26T21:48:24.283" v="50"/>
          <ac:spMkLst>
            <pc:docMk/>
            <pc:sldMk cId="595546358" sldId="590"/>
            <ac:spMk id="23" creationId="{00000000-0000-0000-0000-000000000000}"/>
          </ac:spMkLst>
        </pc:spChg>
        <pc:spChg chg="add">
          <ac:chgData name="Eileen Fleming Suse" userId="S::efs3844@ads.northwestern.edu::725c94ef-d051-42d7-9d33-8572765d592b" providerId="AD" clId="Web-{AC5E249F-4AD8-EC7C-FB2F-902F01AC2000}" dt="2023-10-26T21:48:24.393" v="51"/>
          <ac:spMkLst>
            <pc:docMk/>
            <pc:sldMk cId="595546358" sldId="590"/>
            <ac:spMk id="30" creationId="{53721EF8-C35D-834E-9339-D65FFE7AFF9A}"/>
          </ac:spMkLst>
        </pc:spChg>
        <pc:spChg chg="add">
          <ac:chgData name="Eileen Fleming Suse" userId="S::efs3844@ads.northwestern.edu::725c94ef-d051-42d7-9d33-8572765d592b" providerId="AD" clId="Web-{AC5E249F-4AD8-EC7C-FB2F-902F01AC2000}" dt="2023-10-26T21:48:24.408" v="52"/>
          <ac:spMkLst>
            <pc:docMk/>
            <pc:sldMk cId="595546358" sldId="590"/>
            <ac:spMk id="32" creationId="{F1AED984-C21E-AA63-E34E-DA61BCE8401F}"/>
          </ac:spMkLst>
        </pc:spChg>
        <pc:spChg chg="add">
          <ac:chgData name="Eileen Fleming Suse" userId="S::efs3844@ads.northwestern.edu::725c94ef-d051-42d7-9d33-8572765d592b" providerId="AD" clId="Web-{AC5E249F-4AD8-EC7C-FB2F-902F01AC2000}" dt="2023-10-26T21:48:24.424" v="53"/>
          <ac:spMkLst>
            <pc:docMk/>
            <pc:sldMk cId="595546358" sldId="590"/>
            <ac:spMk id="34" creationId="{6A9EBE99-61D6-2DC0-EB79-B633C9D91DD8}"/>
          </ac:spMkLst>
        </pc:spChg>
      </pc:sldChg>
      <pc:sldChg chg="addSp delSp add">
        <pc:chgData name="Eileen Fleming Suse" userId="S::efs3844@ads.northwestern.edu::725c94ef-d051-42d7-9d33-8572765d592b" providerId="AD" clId="Web-{AC5E249F-4AD8-EC7C-FB2F-902F01AC2000}" dt="2023-10-26T21:48:09.330" v="48"/>
        <pc:sldMkLst>
          <pc:docMk/>
          <pc:sldMk cId="629433230" sldId="591"/>
        </pc:sldMkLst>
        <pc:spChg chg="del">
          <ac:chgData name="Eileen Fleming Suse" userId="S::efs3844@ads.northwestern.edu::725c94ef-d051-42d7-9d33-8572765d592b" providerId="AD" clId="Web-{AC5E249F-4AD8-EC7C-FB2F-902F01AC2000}" dt="2023-10-26T21:48:05.861" v="44"/>
          <ac:spMkLst>
            <pc:docMk/>
            <pc:sldMk cId="629433230" sldId="591"/>
            <ac:spMk id="4" creationId="{00000000-0000-0000-0000-000000000000}"/>
          </ac:spMkLst>
        </pc:spChg>
        <pc:spChg chg="del">
          <ac:chgData name="Eileen Fleming Suse" userId="S::efs3844@ads.northwestern.edu::725c94ef-d051-42d7-9d33-8572765d592b" providerId="AD" clId="Web-{AC5E249F-4AD8-EC7C-FB2F-902F01AC2000}" dt="2023-10-26T21:48:08.158" v="45"/>
          <ac:spMkLst>
            <pc:docMk/>
            <pc:sldMk cId="629433230" sldId="591"/>
            <ac:spMk id="16" creationId="{00000000-0000-0000-0000-000000000000}"/>
          </ac:spMkLst>
        </pc:spChg>
        <pc:spChg chg="add">
          <ac:chgData name="Eileen Fleming Suse" userId="S::efs3844@ads.northwestern.edu::725c94ef-d051-42d7-9d33-8572765d592b" providerId="AD" clId="Web-{AC5E249F-4AD8-EC7C-FB2F-902F01AC2000}" dt="2023-10-26T21:48:09.252" v="46"/>
          <ac:spMkLst>
            <pc:docMk/>
            <pc:sldMk cId="629433230" sldId="591"/>
            <ac:spMk id="24" creationId="{82DED22A-2957-2107-97D2-7694FF88F0A5}"/>
          </ac:spMkLst>
        </pc:spChg>
        <pc:spChg chg="add">
          <ac:chgData name="Eileen Fleming Suse" userId="S::efs3844@ads.northwestern.edu::725c94ef-d051-42d7-9d33-8572765d592b" providerId="AD" clId="Web-{AC5E249F-4AD8-EC7C-FB2F-902F01AC2000}" dt="2023-10-26T21:48:09.298" v="47"/>
          <ac:spMkLst>
            <pc:docMk/>
            <pc:sldMk cId="629433230" sldId="591"/>
            <ac:spMk id="26" creationId="{7ADA2A22-B85F-E8A9-52B3-7FA1A111EB25}"/>
          </ac:spMkLst>
        </pc:spChg>
        <pc:spChg chg="add">
          <ac:chgData name="Eileen Fleming Suse" userId="S::efs3844@ads.northwestern.edu::725c94ef-d051-42d7-9d33-8572765d592b" providerId="AD" clId="Web-{AC5E249F-4AD8-EC7C-FB2F-902F01AC2000}" dt="2023-10-26T21:48:09.330" v="48"/>
          <ac:spMkLst>
            <pc:docMk/>
            <pc:sldMk cId="629433230" sldId="591"/>
            <ac:spMk id="28" creationId="{D3AD1992-E406-9041-27DE-F66F0C777757}"/>
          </ac:spMkLst>
        </pc:spChg>
      </pc:sldChg>
      <pc:sldChg chg="add del addCm">
        <pc:chgData name="Eileen Fleming Suse" userId="S::efs3844@ads.northwestern.edu::725c94ef-d051-42d7-9d33-8572765d592b" providerId="AD" clId="Web-{AC5E249F-4AD8-EC7C-FB2F-902F01AC2000}" dt="2023-10-26T22:01:28.298" v="179"/>
        <pc:sldMkLst>
          <pc:docMk/>
          <pc:sldMk cId="4102962722" sldId="592"/>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AC5E249F-4AD8-EC7C-FB2F-902F01AC2000}" dt="2023-10-26T22:01:28.298" v="179"/>
              <pc2:cmMkLst xmlns:pc2="http://schemas.microsoft.com/office/powerpoint/2019/9/main/command">
                <pc:docMk/>
                <pc:sldMk cId="4102962722" sldId="592"/>
                <pc2:cmMk id="{ED77AB97-E80B-44F4-80E6-44E381970832}"/>
              </pc2:cmMkLst>
            </pc226:cmChg>
          </p:ext>
        </pc:extLst>
      </pc:sldChg>
      <pc:sldChg chg="add del">
        <pc:chgData name="Eileen Fleming Suse" userId="S::efs3844@ads.northwestern.edu::725c94ef-d051-42d7-9d33-8572765d592b" providerId="AD" clId="Web-{AC5E249F-4AD8-EC7C-FB2F-902F01AC2000}" dt="2023-10-26T21:59:49.607" v="171"/>
        <pc:sldMkLst>
          <pc:docMk/>
          <pc:sldMk cId="3969440120" sldId="593"/>
        </pc:sldMkLst>
      </pc:sldChg>
      <pc:sldChg chg="add del">
        <pc:chgData name="Eileen Fleming Suse" userId="S::efs3844@ads.northwestern.edu::725c94ef-d051-42d7-9d33-8572765d592b" providerId="AD" clId="Web-{AC5E249F-4AD8-EC7C-FB2F-902F01AC2000}" dt="2023-10-26T21:59:49.497" v="170"/>
        <pc:sldMkLst>
          <pc:docMk/>
          <pc:sldMk cId="2412661198" sldId="594"/>
        </pc:sldMkLst>
      </pc:sldChg>
      <pc:sldChg chg="add del">
        <pc:chgData name="Eileen Fleming Suse" userId="S::efs3844@ads.northwestern.edu::725c94ef-d051-42d7-9d33-8572765d592b" providerId="AD" clId="Web-{AC5E249F-4AD8-EC7C-FB2F-902F01AC2000}" dt="2023-10-26T21:59:49.404" v="169"/>
        <pc:sldMkLst>
          <pc:docMk/>
          <pc:sldMk cId="3516145000" sldId="595"/>
        </pc:sldMkLst>
      </pc:sldChg>
      <pc:sldChg chg="add del">
        <pc:chgData name="Eileen Fleming Suse" userId="S::efs3844@ads.northwestern.edu::725c94ef-d051-42d7-9d33-8572765d592b" providerId="AD" clId="Web-{AC5E249F-4AD8-EC7C-FB2F-902F01AC2000}" dt="2023-10-26T21:59:49.341" v="168"/>
        <pc:sldMkLst>
          <pc:docMk/>
          <pc:sldMk cId="2417460478" sldId="596"/>
        </pc:sldMkLst>
      </pc:sldChg>
      <pc:sldChg chg="add del">
        <pc:chgData name="Eileen Fleming Suse" userId="S::efs3844@ads.northwestern.edu::725c94ef-d051-42d7-9d33-8572765d592b" providerId="AD" clId="Web-{AC5E249F-4AD8-EC7C-FB2F-902F01AC2000}" dt="2023-10-26T21:59:49.279" v="167"/>
        <pc:sldMkLst>
          <pc:docMk/>
          <pc:sldMk cId="81318788" sldId="597"/>
        </pc:sldMkLst>
      </pc:sldChg>
      <pc:sldChg chg="add del addCm delCm">
        <pc:chgData name="Eileen Fleming Suse" userId="S::efs3844@ads.northwestern.edu::725c94ef-d051-42d7-9d33-8572765d592b" providerId="AD" clId="Web-{AC5E249F-4AD8-EC7C-FB2F-902F01AC2000}" dt="2023-10-26T22:03:03.911" v="181"/>
        <pc:sldMkLst>
          <pc:docMk/>
          <pc:sldMk cId="1569232529" sldId="598"/>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AC5E249F-4AD8-EC7C-FB2F-902F01AC2000}" dt="2023-10-26T22:01:39.986" v="180"/>
              <pc2:cmMkLst xmlns:pc2="http://schemas.microsoft.com/office/powerpoint/2019/9/main/command">
                <pc:docMk/>
                <pc:sldMk cId="1569232529" sldId="598"/>
                <pc2:cmMk id="{137A254D-2737-4985-B0AB-6839DDC46AE0}"/>
              </pc2:cmMkLst>
            </pc226:cmChg>
            <pc226:cmChg xmlns:pc226="http://schemas.microsoft.com/office/powerpoint/2022/06/main/command" chg="add">
              <pc226:chgData name="Eileen Fleming Suse" userId="S::efs3844@ads.northwestern.edu::725c94ef-d051-42d7-9d33-8572765d592b" providerId="AD" clId="Web-{AC5E249F-4AD8-EC7C-FB2F-902F01AC2000}" dt="2023-10-26T22:03:03.911" v="181"/>
              <pc2:cmMkLst xmlns:pc2="http://schemas.microsoft.com/office/powerpoint/2019/9/main/command">
                <pc:docMk/>
                <pc:sldMk cId="1569232529" sldId="598"/>
                <pc2:cmMk id="{6C353279-3DE6-48C1-99BD-BBA70C8082BC}"/>
              </pc2:cmMkLst>
            </pc226:cmChg>
          </p:ext>
        </pc:extLst>
      </pc:sldChg>
      <pc:sldChg chg="add del">
        <pc:chgData name="Eileen Fleming Suse" userId="S::efs3844@ads.northwestern.edu::725c94ef-d051-42d7-9d33-8572765d592b" providerId="AD" clId="Web-{AC5E249F-4AD8-EC7C-FB2F-902F01AC2000}" dt="2023-10-27T16:04:51.687" v="308"/>
        <pc:sldMkLst>
          <pc:docMk/>
          <pc:sldMk cId="2439308623" sldId="599"/>
        </pc:sldMkLst>
      </pc:sldChg>
    </pc:docChg>
  </pc:docChgLst>
  <pc:docChgLst>
    <pc:chgData name="Eileen Fleming Suse" userId="S::efs3844@ads.northwestern.edu::725c94ef-d051-42d7-9d33-8572765d592b" providerId="AD" clId="Web-{22D2D811-4E65-4C88-896C-E87684E0524E}"/>
    <pc:docChg chg="addSld delSld modSld sldOrd addMainMaster modMainMaster">
      <pc:chgData name="Eileen Fleming Suse" userId="S::efs3844@ads.northwestern.edu::725c94ef-d051-42d7-9d33-8572765d592b" providerId="AD" clId="Web-{22D2D811-4E65-4C88-896C-E87684E0524E}" dt="2023-10-27T19:12:45.418" v="258" actId="1076"/>
      <pc:docMkLst>
        <pc:docMk/>
      </pc:docMkLst>
      <pc:sldChg chg="modSp">
        <pc:chgData name="Eileen Fleming Suse" userId="S::efs3844@ads.northwestern.edu::725c94ef-d051-42d7-9d33-8572765d592b" providerId="AD" clId="Web-{22D2D811-4E65-4C88-896C-E87684E0524E}" dt="2023-10-27T18:33:04.306" v="44" actId="20577"/>
        <pc:sldMkLst>
          <pc:docMk/>
          <pc:sldMk cId="3472964082" sldId="550"/>
        </pc:sldMkLst>
        <pc:spChg chg="mod">
          <ac:chgData name="Eileen Fleming Suse" userId="S::efs3844@ads.northwestern.edu::725c94ef-d051-42d7-9d33-8572765d592b" providerId="AD" clId="Web-{22D2D811-4E65-4C88-896C-E87684E0524E}" dt="2023-10-27T18:33:04.306" v="44" actId="20577"/>
          <ac:spMkLst>
            <pc:docMk/>
            <pc:sldMk cId="3472964082" sldId="550"/>
            <ac:spMk id="23" creationId="{00000000-0000-0000-0000-000000000000}"/>
          </ac:spMkLst>
        </pc:spChg>
      </pc:sldChg>
      <pc:sldChg chg="modNotes">
        <pc:chgData name="Eileen Fleming Suse" userId="S::efs3844@ads.northwestern.edu::725c94ef-d051-42d7-9d33-8572765d592b" providerId="AD" clId="Web-{22D2D811-4E65-4C88-896C-E87684E0524E}" dt="2023-10-27T18:11:52.843" v="38"/>
        <pc:sldMkLst>
          <pc:docMk/>
          <pc:sldMk cId="2562283095" sldId="551"/>
        </pc:sldMkLst>
      </pc:sldChg>
      <pc:sldChg chg="modSp modNotes">
        <pc:chgData name="Eileen Fleming Suse" userId="S::efs3844@ads.northwestern.edu::725c94ef-d051-42d7-9d33-8572765d592b" providerId="AD" clId="Web-{22D2D811-4E65-4C88-896C-E87684E0524E}" dt="2023-10-27T18:51:13.798" v="179" actId="20577"/>
        <pc:sldMkLst>
          <pc:docMk/>
          <pc:sldMk cId="3067427377" sldId="560"/>
        </pc:sldMkLst>
        <pc:spChg chg="mod">
          <ac:chgData name="Eileen Fleming Suse" userId="S::efs3844@ads.northwestern.edu::725c94ef-d051-42d7-9d33-8572765d592b" providerId="AD" clId="Web-{22D2D811-4E65-4C88-896C-E87684E0524E}" dt="2023-10-27T18:51:13.798" v="179" actId="20577"/>
          <ac:spMkLst>
            <pc:docMk/>
            <pc:sldMk cId="3067427377" sldId="560"/>
            <ac:spMk id="3" creationId="{E7ECD19B-85BC-6652-2856-676802964CFA}"/>
          </ac:spMkLst>
        </pc:spChg>
      </pc:sldChg>
      <pc:sldChg chg="modSp modNotes">
        <pc:chgData name="Eileen Fleming Suse" userId="S::efs3844@ads.northwestern.edu::725c94ef-d051-42d7-9d33-8572765d592b" providerId="AD" clId="Web-{22D2D811-4E65-4C88-896C-E87684E0524E}" dt="2023-10-27T19:12:45.418" v="258" actId="1076"/>
        <pc:sldMkLst>
          <pc:docMk/>
          <pc:sldMk cId="1141815353" sldId="562"/>
        </pc:sldMkLst>
        <pc:spChg chg="mod">
          <ac:chgData name="Eileen Fleming Suse" userId="S::efs3844@ads.northwestern.edu::725c94ef-d051-42d7-9d33-8572765d592b" providerId="AD" clId="Web-{22D2D811-4E65-4C88-896C-E87684E0524E}" dt="2023-10-27T19:12:45.418" v="258" actId="1076"/>
          <ac:spMkLst>
            <pc:docMk/>
            <pc:sldMk cId="1141815353" sldId="562"/>
            <ac:spMk id="2" creationId="{05579FEB-3306-A04E-6516-F16994F3B0F9}"/>
          </ac:spMkLst>
        </pc:spChg>
        <pc:spChg chg="mod">
          <ac:chgData name="Eileen Fleming Suse" userId="S::efs3844@ads.northwestern.edu::725c94ef-d051-42d7-9d33-8572765d592b" providerId="AD" clId="Web-{22D2D811-4E65-4C88-896C-E87684E0524E}" dt="2023-10-27T19:12:36.012" v="257" actId="1076"/>
          <ac:spMkLst>
            <pc:docMk/>
            <pc:sldMk cId="1141815353" sldId="562"/>
            <ac:spMk id="360" creationId="{FE59A3A2-BFF2-9772-51D6-9CCB620AEB53}"/>
          </ac:spMkLst>
        </pc:spChg>
        <pc:graphicFrameChg chg="mod modGraphic">
          <ac:chgData name="Eileen Fleming Suse" userId="S::efs3844@ads.northwestern.edu::725c94ef-d051-42d7-9d33-8572765d592b" providerId="AD" clId="Web-{22D2D811-4E65-4C88-896C-E87684E0524E}" dt="2023-10-27T19:12:25.184" v="255" actId="20577"/>
          <ac:graphicFrameMkLst>
            <pc:docMk/>
            <pc:sldMk cId="1141815353" sldId="562"/>
            <ac:graphicFrameMk id="137" creationId="{61D68665-D38F-2DB1-AAFC-535C715B7F9F}"/>
          </ac:graphicFrameMkLst>
        </pc:graphicFrameChg>
      </pc:sldChg>
      <pc:sldChg chg="ord modNotes">
        <pc:chgData name="Eileen Fleming Suse" userId="S::efs3844@ads.northwestern.edu::725c94ef-d051-42d7-9d33-8572765d592b" providerId="AD" clId="Web-{22D2D811-4E65-4C88-896C-E87684E0524E}" dt="2023-10-27T19:01:49.670" v="207"/>
        <pc:sldMkLst>
          <pc:docMk/>
          <pc:sldMk cId="1536434647" sldId="564"/>
        </pc:sldMkLst>
      </pc:sldChg>
      <pc:sldChg chg="modCm">
        <pc:chgData name="Eileen Fleming Suse" userId="S::efs3844@ads.northwestern.edu::725c94ef-d051-42d7-9d33-8572765d592b" providerId="AD" clId="Web-{22D2D811-4E65-4C88-896C-E87684E0524E}" dt="2023-10-27T18:24:45.031" v="40"/>
        <pc:sldMkLst>
          <pc:docMk/>
          <pc:sldMk cId="2564870475" sldId="566"/>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8:24:45.031" v="40"/>
              <pc2:cmMkLst xmlns:pc2="http://schemas.microsoft.com/office/powerpoint/2019/9/main/command">
                <pc:docMk/>
                <pc:sldMk cId="2564870475" sldId="566"/>
                <pc2:cmMk id="{2E54611F-EF9E-406A-A7DB-E8AA469FE59F}"/>
              </pc2:cmMkLst>
            </pc226:cmChg>
          </p:ext>
        </pc:extLst>
      </pc:sldChg>
      <pc:sldChg chg="modSp">
        <pc:chgData name="Eileen Fleming Suse" userId="S::efs3844@ads.northwestern.edu::725c94ef-d051-42d7-9d33-8572765d592b" providerId="AD" clId="Web-{22D2D811-4E65-4C88-896C-E87684E0524E}" dt="2023-10-27T18:30:50.210" v="42" actId="14100"/>
        <pc:sldMkLst>
          <pc:docMk/>
          <pc:sldMk cId="3419957415" sldId="577"/>
        </pc:sldMkLst>
        <pc:cxnChg chg="mod">
          <ac:chgData name="Eileen Fleming Suse" userId="S::efs3844@ads.northwestern.edu::725c94ef-d051-42d7-9d33-8572765d592b" providerId="AD" clId="Web-{22D2D811-4E65-4C88-896C-E87684E0524E}" dt="2023-10-27T18:30:50.210" v="42" actId="14100"/>
          <ac:cxnSpMkLst>
            <pc:docMk/>
            <pc:sldMk cId="3419957415" sldId="577"/>
            <ac:cxnSpMk id="60" creationId="{0780975F-40AC-4431-7277-8634D267BA1E}"/>
          </ac:cxnSpMkLst>
        </pc:cxnChg>
      </pc:sldChg>
      <pc:sldChg chg="modCm">
        <pc:chgData name="Eileen Fleming Suse" userId="S::efs3844@ads.northwestern.edu::725c94ef-d051-42d7-9d33-8572765d592b" providerId="AD" clId="Web-{22D2D811-4E65-4C88-896C-E87684E0524E}" dt="2023-10-27T17:42:13.365" v="0"/>
        <pc:sldMkLst>
          <pc:docMk/>
          <pc:sldMk cId="1478149357" sldId="598"/>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7:42:13.365" v="0"/>
              <pc2:cmMkLst xmlns:pc2="http://schemas.microsoft.com/office/powerpoint/2019/9/main/command">
                <pc:docMk/>
                <pc:sldMk cId="1478149357" sldId="598"/>
                <pc2:cmMk id="{137A254D-2737-4985-B0AB-6839DDC46AE0}"/>
              </pc2:cmMkLst>
            </pc226:cmChg>
          </p:ext>
        </pc:extLst>
      </pc:sldChg>
      <pc:sldChg chg="modCm">
        <pc:chgData name="Eileen Fleming Suse" userId="S::efs3844@ads.northwestern.edu::725c94ef-d051-42d7-9d33-8572765d592b" providerId="AD" clId="Web-{22D2D811-4E65-4C88-896C-E87684E0524E}" dt="2023-10-27T17:46:43.921" v="1"/>
        <pc:sldMkLst>
          <pc:docMk/>
          <pc:sldMk cId="3355787309" sldId="604"/>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D2D811-4E65-4C88-896C-E87684E0524E}" dt="2023-10-27T17:46:43.921" v="1"/>
              <pc2:cmMkLst xmlns:pc2="http://schemas.microsoft.com/office/powerpoint/2019/9/main/command">
                <pc:docMk/>
                <pc:sldMk cId="3355787309" sldId="604"/>
                <pc2:cmMk id="{5635E0A6-AC69-4FB6-B7FE-9DA078BBCAEE}"/>
              </pc2:cmMkLst>
              <pc226:cmRplyChg chg="add">
                <pc226:chgData name="Eileen Fleming Suse" userId="S::efs3844@ads.northwestern.edu::725c94ef-d051-42d7-9d33-8572765d592b" providerId="AD" clId="Web-{22D2D811-4E65-4C88-896C-E87684E0524E}" dt="2023-10-27T17:46:43.921" v="1"/>
                <pc2:cmRplyMkLst xmlns:pc2="http://schemas.microsoft.com/office/powerpoint/2019/9/main/command">
                  <pc:docMk/>
                  <pc:sldMk cId="3355787309" sldId="604"/>
                  <pc2:cmMk id="{5635E0A6-AC69-4FB6-B7FE-9DA078BBCAEE}"/>
                  <pc2:cmRplyMk id="{3053D263-C269-4BCE-98DF-ACFFCD7AE076}"/>
                </pc2:cmRplyMkLst>
              </pc226:cmRplyChg>
            </pc226:cmChg>
          </p:ext>
        </pc:extLst>
      </pc:sldChg>
      <pc:sldChg chg="modSp new del">
        <pc:chgData name="Eileen Fleming Suse" userId="S::efs3844@ads.northwestern.edu::725c94ef-d051-42d7-9d33-8572765d592b" providerId="AD" clId="Web-{22D2D811-4E65-4C88-896C-E87684E0524E}" dt="2023-10-27T18:54:20.755" v="180"/>
        <pc:sldMkLst>
          <pc:docMk/>
          <pc:sldMk cId="2702190378" sldId="615"/>
        </pc:sldMkLst>
        <pc:spChg chg="mod">
          <ac:chgData name="Eileen Fleming Suse" userId="S::efs3844@ads.northwestern.edu::725c94ef-d051-42d7-9d33-8572765d592b" providerId="AD" clId="Web-{22D2D811-4E65-4C88-896C-E87684E0524E}" dt="2023-10-27T17:49:36.442" v="12" actId="20577"/>
          <ac:spMkLst>
            <pc:docMk/>
            <pc:sldMk cId="2702190378" sldId="615"/>
            <ac:spMk id="2" creationId="{4F445AD1-E0AF-6269-62AE-B7B0FF43D0CD}"/>
          </ac:spMkLst>
        </pc:spChg>
        <pc:spChg chg="mod">
          <ac:chgData name="Eileen Fleming Suse" userId="S::efs3844@ads.northwestern.edu::725c94ef-d051-42d7-9d33-8572765d592b" providerId="AD" clId="Web-{22D2D811-4E65-4C88-896C-E87684E0524E}" dt="2023-10-27T17:49:58.974" v="18" actId="1076"/>
          <ac:spMkLst>
            <pc:docMk/>
            <pc:sldMk cId="2702190378" sldId="615"/>
            <ac:spMk id="3" creationId="{71F04961-CC8C-E39E-33CE-8C1BD7F5DC38}"/>
          </ac:spMkLst>
        </pc:spChg>
      </pc:sldChg>
      <pc:sldChg chg="add">
        <pc:chgData name="Eileen Fleming Suse" userId="S::efs3844@ads.northwestern.edu::725c94ef-d051-42d7-9d33-8572765d592b" providerId="AD" clId="Web-{22D2D811-4E65-4C88-896C-E87684E0524E}" dt="2023-10-27T18:23:08.497" v="39"/>
        <pc:sldMkLst>
          <pc:docMk/>
          <pc:sldMk cId="3726638559" sldId="616"/>
        </pc:sldMkLst>
      </pc:sldChg>
      <pc:sldChg chg="add replId">
        <pc:chgData name="Eileen Fleming Suse" userId="S::efs3844@ads.northwestern.edu::725c94ef-d051-42d7-9d33-8572765d592b" providerId="AD" clId="Web-{22D2D811-4E65-4C88-896C-E87684E0524E}" dt="2023-10-27T19:03:54.095" v="208"/>
        <pc:sldMkLst>
          <pc:docMk/>
          <pc:sldMk cId="1210022179" sldId="617"/>
        </pc:sldMkLst>
      </pc:sldChg>
      <pc:sldChg chg="add replId">
        <pc:chgData name="Eileen Fleming Suse" userId="S::efs3844@ads.northwestern.edu::725c94ef-d051-42d7-9d33-8572765d592b" providerId="AD" clId="Web-{22D2D811-4E65-4C88-896C-E87684E0524E}" dt="2023-10-27T19:04:00.548" v="209"/>
        <pc:sldMkLst>
          <pc:docMk/>
          <pc:sldMk cId="3431700372" sldId="618"/>
        </pc:sldMkLst>
      </pc:sldChg>
      <pc:sldChg chg="add replId">
        <pc:chgData name="Eileen Fleming Suse" userId="S::efs3844@ads.northwestern.edu::725c94ef-d051-42d7-9d33-8572765d592b" providerId="AD" clId="Web-{22D2D811-4E65-4C88-896C-E87684E0524E}" dt="2023-10-27T19:04:16.017" v="210"/>
        <pc:sldMkLst>
          <pc:docMk/>
          <pc:sldMk cId="923498403" sldId="619"/>
        </pc:sldMkLst>
      </pc:sldChg>
      <pc:sldChg chg="add replId">
        <pc:chgData name="Eileen Fleming Suse" userId="S::efs3844@ads.northwestern.edu::725c94ef-d051-42d7-9d33-8572765d592b" providerId="AD" clId="Web-{22D2D811-4E65-4C88-896C-E87684E0524E}" dt="2023-10-27T19:04:20.345" v="211"/>
        <pc:sldMkLst>
          <pc:docMk/>
          <pc:sldMk cId="3074345071" sldId="620"/>
        </pc:sldMkLst>
      </pc:sldChg>
      <pc:sldChg chg="new del">
        <pc:chgData name="Eileen Fleming Suse" userId="S::efs3844@ads.northwestern.edu::725c94ef-d051-42d7-9d33-8572765d592b" providerId="AD" clId="Web-{22D2D811-4E65-4C88-896C-E87684E0524E}" dt="2023-10-27T19:06:30.676" v="219"/>
        <pc:sldMkLst>
          <pc:docMk/>
          <pc:sldMk cId="2826471173" sldId="621"/>
        </pc:sldMkLst>
      </pc:sldChg>
      <pc:sldChg chg="add replId modNotes">
        <pc:chgData name="Eileen Fleming Suse" userId="S::efs3844@ads.northwestern.edu::725c94ef-d051-42d7-9d33-8572765d592b" providerId="AD" clId="Web-{22D2D811-4E65-4C88-896C-E87684E0524E}" dt="2023-10-27T19:05:58.863" v="218"/>
        <pc:sldMkLst>
          <pc:docMk/>
          <pc:sldMk cId="3850125703" sldId="622"/>
        </pc:sldMkLst>
      </pc:sldChg>
      <pc:sldMasterChg chg="modSldLayout">
        <pc:chgData name="Eileen Fleming Suse" userId="S::efs3844@ads.northwestern.edu::725c94ef-d051-42d7-9d33-8572765d592b" providerId="AD" clId="Web-{22D2D811-4E65-4C88-896C-E87684E0524E}" dt="2023-10-27T18:23:08.497" v="39"/>
        <pc:sldMasterMkLst>
          <pc:docMk/>
          <pc:sldMasterMk cId="3378073280" sldId="2147483756"/>
        </pc:sldMasterMkLst>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2670630771" sldId="214748735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783658486" sldId="214748735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9320368" sldId="214748735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10130633" sldId="214748735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698059872" sldId="214748735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5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5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5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5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5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6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6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6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39295337" sldId="214748736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02549073" sldId="214748736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5532739" sldId="214748736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58542806" sldId="214748736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967421487" sldId="214748736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6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80529727" sldId="214748736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7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7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7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7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59781530" sldId="214748737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7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7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7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7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79"/>
          </pc:sldLayoutMkLst>
        </pc:sldLayoutChg>
      </pc:sldMasterChg>
      <pc:sldMasterChg chg="add addSldLayout">
        <pc:chgData name="Eileen Fleming Suse" userId="S::efs3844@ads.northwestern.edu::725c94ef-d051-42d7-9d33-8572765d592b" providerId="AD" clId="Web-{22D2D811-4E65-4C88-896C-E87684E0524E}" dt="2023-10-27T18:23:08.497" v="39"/>
        <pc:sldMasterMkLst>
          <pc:docMk/>
          <pc:sldMasterMk cId="0" sldId="2147484595"/>
        </pc:sldMasterMkLst>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6F4BA6F9-4A5A-3B13-85C3-6DB0B61CBC00}"/>
    <pc:docChg chg="addSld delSld modSld sldOrd">
      <pc:chgData name="Isabel Rose Gippo" userId="S::irg9370@ads.northwestern.edu::b10bfe7e-55b9-46dd-9add-2eb52cb66d3b" providerId="AD" clId="Web-{6F4BA6F9-4A5A-3B13-85C3-6DB0B61CBC00}" dt="2023-10-24T15:58:08.213" v="1715" actId="1076"/>
      <pc:docMkLst>
        <pc:docMk/>
      </pc:docMkLst>
      <pc:sldChg chg="addSp delSp modSp add del">
        <pc:chgData name="Isabel Rose Gippo" userId="S::irg9370@ads.northwestern.edu::b10bfe7e-55b9-46dd-9add-2eb52cb66d3b" providerId="AD" clId="Web-{6F4BA6F9-4A5A-3B13-85C3-6DB0B61CBC00}" dt="2023-10-24T15:58:08.213" v="1715" actId="1076"/>
        <pc:sldMkLst>
          <pc:docMk/>
          <pc:sldMk cId="3090389772" sldId="568"/>
        </pc:sldMkLst>
        <pc:spChg chg="mod">
          <ac:chgData name="Isabel Rose Gippo" userId="S::irg9370@ads.northwestern.edu::b10bfe7e-55b9-46dd-9add-2eb52cb66d3b" providerId="AD" clId="Web-{6F4BA6F9-4A5A-3B13-85C3-6DB0B61CBC00}" dt="2023-10-24T15:58:08.213" v="1715" actId="1076"/>
          <ac:spMkLst>
            <pc:docMk/>
            <pc:sldMk cId="3090389772" sldId="568"/>
            <ac:spMk id="11" creationId="{13896302-555C-1A80-C459-6D1ACE663F72}"/>
          </ac:spMkLst>
        </pc:spChg>
        <pc:spChg chg="mod">
          <ac:chgData name="Isabel Rose Gippo" userId="S::irg9370@ads.northwestern.edu::b10bfe7e-55b9-46dd-9add-2eb52cb66d3b" providerId="AD" clId="Web-{6F4BA6F9-4A5A-3B13-85C3-6DB0B61CBC00}" dt="2023-10-24T15:57:58.447" v="1714"/>
          <ac:spMkLst>
            <pc:docMk/>
            <pc:sldMk cId="3090389772" sldId="568"/>
            <ac:spMk id="15" creationId="{CA00A902-9377-5B4A-9651-129D059BB685}"/>
          </ac:spMkLst>
        </pc:spChg>
        <pc:spChg chg="mod">
          <ac:chgData name="Isabel Rose Gippo" userId="S::irg9370@ads.northwestern.edu::b10bfe7e-55b9-46dd-9add-2eb52cb66d3b" providerId="AD" clId="Web-{6F4BA6F9-4A5A-3B13-85C3-6DB0B61CBC00}" dt="2023-10-24T15:56:10.319" v="1694" actId="1076"/>
          <ac:spMkLst>
            <pc:docMk/>
            <pc:sldMk cId="3090389772" sldId="568"/>
            <ac:spMk id="19" creationId="{F49C1F1A-614A-5749-1A3F-78980B65ADBC}"/>
          </ac:spMkLst>
        </pc:spChg>
        <pc:graphicFrameChg chg="add del mod modGraphic">
          <ac:chgData name="Isabel Rose Gippo" userId="S::irg9370@ads.northwestern.edu::b10bfe7e-55b9-46dd-9add-2eb52cb66d3b" providerId="AD" clId="Web-{6F4BA6F9-4A5A-3B13-85C3-6DB0B61CBC00}" dt="2023-10-24T14:31:59.177" v="62"/>
          <ac:graphicFrameMkLst>
            <pc:docMk/>
            <pc:sldMk cId="3090389772" sldId="568"/>
            <ac:graphicFrameMk id="4" creationId="{6A2907FB-67FD-24B1-D91A-81A1E0F2FE3E}"/>
          </ac:graphicFrameMkLst>
        </pc:graphicFrameChg>
        <pc:picChg chg="add del mod">
          <ac:chgData name="Isabel Rose Gippo" userId="S::irg9370@ads.northwestern.edu::b10bfe7e-55b9-46dd-9add-2eb52cb66d3b" providerId="AD" clId="Web-{6F4BA6F9-4A5A-3B13-85C3-6DB0B61CBC00}" dt="2023-10-24T14:35:05.776" v="115"/>
          <ac:picMkLst>
            <pc:docMk/>
            <pc:sldMk cId="3090389772" sldId="568"/>
            <ac:picMk id="2" creationId="{22E3189E-1004-3B9A-952C-B9908ABEC812}"/>
          </ac:picMkLst>
        </pc:picChg>
        <pc:picChg chg="add mod">
          <ac:chgData name="Isabel Rose Gippo" userId="S::irg9370@ads.northwestern.edu::b10bfe7e-55b9-46dd-9add-2eb52cb66d3b" providerId="AD" clId="Web-{6F4BA6F9-4A5A-3B13-85C3-6DB0B61CBC00}" dt="2023-10-24T14:35:18.041" v="119" actId="14100"/>
          <ac:picMkLst>
            <pc:docMk/>
            <pc:sldMk cId="3090389772" sldId="568"/>
            <ac:picMk id="5" creationId="{65C4865E-19D9-EE97-B5E3-CD1D974570D2}"/>
          </ac:picMkLst>
        </pc:picChg>
        <pc:picChg chg="mod">
          <ac:chgData name="Isabel Rose Gippo" userId="S::irg9370@ads.northwestern.edu::b10bfe7e-55b9-46dd-9add-2eb52cb66d3b" providerId="AD" clId="Web-{6F4BA6F9-4A5A-3B13-85C3-6DB0B61CBC00}" dt="2023-10-24T15:56:31.632" v="1698" actId="1076"/>
          <ac:picMkLst>
            <pc:docMk/>
            <pc:sldMk cId="3090389772" sldId="568"/>
            <ac:picMk id="14" creationId="{557B5DD0-CAF3-34F4-E916-20658CE8833E}"/>
          </ac:picMkLst>
        </pc:picChg>
        <pc:picChg chg="del mod">
          <ac:chgData name="Isabel Rose Gippo" userId="S::irg9370@ads.northwestern.edu::b10bfe7e-55b9-46dd-9add-2eb52cb66d3b" providerId="AD" clId="Web-{6F4BA6F9-4A5A-3B13-85C3-6DB0B61CBC00}" dt="2023-10-24T14:32:31.866" v="75"/>
          <ac:picMkLst>
            <pc:docMk/>
            <pc:sldMk cId="3090389772" sldId="568"/>
            <ac:picMk id="21" creationId="{B3F7D84D-D47C-2EE1-3151-7E4DB552539E}"/>
          </ac:picMkLst>
        </pc:picChg>
        <pc:cxnChg chg="add mod">
          <ac:chgData name="Isabel Rose Gippo" userId="S::irg9370@ads.northwestern.edu::b10bfe7e-55b9-46dd-9add-2eb52cb66d3b" providerId="AD" clId="Web-{6F4BA6F9-4A5A-3B13-85C3-6DB0B61CBC00}" dt="2023-10-24T15:57:36.212" v="1709" actId="1076"/>
          <ac:cxnSpMkLst>
            <pc:docMk/>
            <pc:sldMk cId="3090389772" sldId="568"/>
            <ac:cxnSpMk id="6" creationId="{800C1A4B-558C-C3C1-0A73-4639336A0837}"/>
          </ac:cxnSpMkLst>
        </pc:cxnChg>
      </pc:sldChg>
      <pc:sldChg chg="addSp delSp modSp add del">
        <pc:chgData name="Isabel Rose Gippo" userId="S::irg9370@ads.northwestern.edu::b10bfe7e-55b9-46dd-9add-2eb52cb66d3b" providerId="AD" clId="Web-{6F4BA6F9-4A5A-3B13-85C3-6DB0B61CBC00}" dt="2023-10-24T14:58:27.576" v="440" actId="1076"/>
        <pc:sldMkLst>
          <pc:docMk/>
          <pc:sldMk cId="1088329954" sldId="569"/>
        </pc:sldMkLst>
        <pc:spChg chg="add mod">
          <ac:chgData name="Isabel Rose Gippo" userId="S::irg9370@ads.northwestern.edu::b10bfe7e-55b9-46dd-9add-2eb52cb66d3b" providerId="AD" clId="Web-{6F4BA6F9-4A5A-3B13-85C3-6DB0B61CBC00}" dt="2023-10-24T14:39:08.110" v="142"/>
          <ac:spMkLst>
            <pc:docMk/>
            <pc:sldMk cId="1088329954" sldId="569"/>
            <ac:spMk id="6" creationId="{001FEC55-3964-F5A7-7AE0-6E293AC7CBD9}"/>
          </ac:spMkLst>
        </pc:spChg>
        <pc:spChg chg="add mod">
          <ac:chgData name="Isabel Rose Gippo" userId="S::irg9370@ads.northwestern.edu::b10bfe7e-55b9-46dd-9add-2eb52cb66d3b" providerId="AD" clId="Web-{6F4BA6F9-4A5A-3B13-85C3-6DB0B61CBC00}" dt="2023-10-24T14:51:03.987" v="376" actId="1076"/>
          <ac:spMkLst>
            <pc:docMk/>
            <pc:sldMk cId="1088329954" sldId="569"/>
            <ac:spMk id="7" creationId="{EAD90045-A731-42F5-ED3E-D5AE61B97B24}"/>
          </ac:spMkLst>
        </pc:spChg>
        <pc:spChg chg="mod">
          <ac:chgData name="Isabel Rose Gippo" userId="S::irg9370@ads.northwestern.edu::b10bfe7e-55b9-46dd-9add-2eb52cb66d3b" providerId="AD" clId="Web-{6F4BA6F9-4A5A-3B13-85C3-6DB0B61CBC00}" dt="2023-10-24T14:39:06.766" v="139" actId="20577"/>
          <ac:spMkLst>
            <pc:docMk/>
            <pc:sldMk cId="1088329954" sldId="569"/>
            <ac:spMk id="19" creationId="{F49C1F1A-614A-5749-1A3F-78980B65ADBC}"/>
          </ac:spMkLst>
        </pc:spChg>
        <pc:spChg chg="mod">
          <ac:chgData name="Isabel Rose Gippo" userId="S::irg9370@ads.northwestern.edu::b10bfe7e-55b9-46dd-9add-2eb52cb66d3b" providerId="AD" clId="Web-{6F4BA6F9-4A5A-3B13-85C3-6DB0B61CBC00}" dt="2023-10-24T14:58:27.576" v="440" actId="1076"/>
          <ac:spMkLst>
            <pc:docMk/>
            <pc:sldMk cId="1088329954" sldId="569"/>
            <ac:spMk id="16386" creationId="{00000000-0000-0000-0000-000000000000}"/>
          </ac:spMkLst>
        </pc:spChg>
        <pc:graphicFrameChg chg="add del mod modGraphic">
          <ac:chgData name="Isabel Rose Gippo" userId="S::irg9370@ads.northwestern.edu::b10bfe7e-55b9-46dd-9add-2eb52cb66d3b" providerId="AD" clId="Web-{6F4BA6F9-4A5A-3B13-85C3-6DB0B61CBC00}" dt="2023-10-24T14:40:40.096" v="166"/>
          <ac:graphicFrameMkLst>
            <pc:docMk/>
            <pc:sldMk cId="1088329954" sldId="569"/>
            <ac:graphicFrameMk id="5" creationId="{44D1F5E2-36F3-46C2-BDE5-F839C2396742}"/>
          </ac:graphicFrameMkLst>
        </pc:graphicFrameChg>
        <pc:picChg chg="del mod">
          <ac:chgData name="Isabel Rose Gippo" userId="S::irg9370@ads.northwestern.edu::b10bfe7e-55b9-46dd-9add-2eb52cb66d3b" providerId="AD" clId="Web-{6F4BA6F9-4A5A-3B13-85C3-6DB0B61CBC00}" dt="2023-10-24T14:38:43.484" v="137"/>
          <ac:picMkLst>
            <pc:docMk/>
            <pc:sldMk cId="1088329954" sldId="569"/>
            <ac:picMk id="2" creationId="{7088B35E-417D-2903-C144-75276D9E0FF3}"/>
          </ac:picMkLst>
        </pc:picChg>
        <pc:picChg chg="add mod modCrop">
          <ac:chgData name="Isabel Rose Gippo" userId="S::irg9370@ads.northwestern.edu::b10bfe7e-55b9-46dd-9add-2eb52cb66d3b" providerId="AD" clId="Web-{6F4BA6F9-4A5A-3B13-85C3-6DB0B61CBC00}" dt="2023-10-24T14:44:29.852" v="231" actId="1076"/>
          <ac:picMkLst>
            <pc:docMk/>
            <pc:sldMk cId="1088329954" sldId="569"/>
            <ac:picMk id="3" creationId="{787AF34B-E42D-4B43-CB21-2B40E3955DDD}"/>
          </ac:picMkLst>
        </pc:picChg>
      </pc:sldChg>
      <pc:sldChg chg="addSp delSp modSp">
        <pc:chgData name="Isabel Rose Gippo" userId="S::irg9370@ads.northwestern.edu::b10bfe7e-55b9-46dd-9add-2eb52cb66d3b" providerId="AD" clId="Web-{6F4BA6F9-4A5A-3B13-85C3-6DB0B61CBC00}" dt="2023-10-24T15:55:56.382" v="1691" actId="1076"/>
        <pc:sldMkLst>
          <pc:docMk/>
          <pc:sldMk cId="2849312483" sldId="570"/>
        </pc:sldMkLst>
        <pc:spChg chg="mod">
          <ac:chgData name="Isabel Rose Gippo" userId="S::irg9370@ads.northwestern.edu::b10bfe7e-55b9-46dd-9add-2eb52cb66d3b" providerId="AD" clId="Web-{6F4BA6F9-4A5A-3B13-85C3-6DB0B61CBC00}" dt="2023-10-24T15:55:56.382" v="1691" actId="1076"/>
          <ac:spMkLst>
            <pc:docMk/>
            <pc:sldMk cId="2849312483" sldId="570"/>
            <ac:spMk id="4" creationId="{EA09FBC4-EFF6-9AB4-25A1-D6ED252CED0D}"/>
          </ac:spMkLst>
        </pc:spChg>
        <pc:spChg chg="mod">
          <ac:chgData name="Isabel Rose Gippo" userId="S::irg9370@ads.northwestern.edu::b10bfe7e-55b9-46dd-9add-2eb52cb66d3b" providerId="AD" clId="Web-{6F4BA6F9-4A5A-3B13-85C3-6DB0B61CBC00}" dt="2023-10-24T14:46:10.308" v="247" actId="1076"/>
          <ac:spMkLst>
            <pc:docMk/>
            <pc:sldMk cId="2849312483" sldId="570"/>
            <ac:spMk id="5" creationId="{E069BE35-38BF-B866-0B62-A243ACB6F110}"/>
          </ac:spMkLst>
        </pc:spChg>
        <pc:spChg chg="mod">
          <ac:chgData name="Isabel Rose Gippo" userId="S::irg9370@ads.northwestern.edu::b10bfe7e-55b9-46dd-9add-2eb52cb66d3b" providerId="AD" clId="Web-{6F4BA6F9-4A5A-3B13-85C3-6DB0B61CBC00}" dt="2023-10-24T14:45:53.292" v="243" actId="1076"/>
          <ac:spMkLst>
            <pc:docMk/>
            <pc:sldMk cId="2849312483" sldId="570"/>
            <ac:spMk id="6" creationId="{137890F0-FB58-2F7F-C68D-9B504512854C}"/>
          </ac:spMkLst>
        </pc:spChg>
        <pc:spChg chg="mod">
          <ac:chgData name="Isabel Rose Gippo" userId="S::irg9370@ads.northwestern.edu::b10bfe7e-55b9-46dd-9add-2eb52cb66d3b" providerId="AD" clId="Web-{6F4BA6F9-4A5A-3B13-85C3-6DB0B61CBC00}" dt="2023-10-24T14:46:01.714" v="245" actId="1076"/>
          <ac:spMkLst>
            <pc:docMk/>
            <pc:sldMk cId="2849312483" sldId="570"/>
            <ac:spMk id="7" creationId="{1F35585C-3549-CE9C-A34A-3452229F6833}"/>
          </ac:spMkLst>
        </pc:spChg>
        <pc:spChg chg="mod">
          <ac:chgData name="Isabel Rose Gippo" userId="S::irg9370@ads.northwestern.edu::b10bfe7e-55b9-46dd-9add-2eb52cb66d3b" providerId="AD" clId="Web-{6F4BA6F9-4A5A-3B13-85C3-6DB0B61CBC00}" dt="2023-10-24T14:46:07.167" v="246" actId="1076"/>
          <ac:spMkLst>
            <pc:docMk/>
            <pc:sldMk cId="2849312483" sldId="570"/>
            <ac:spMk id="9" creationId="{9BD0DB87-BFB9-248F-9187-16322CEC9C89}"/>
          </ac:spMkLst>
        </pc:spChg>
        <pc:spChg chg="mod">
          <ac:chgData name="Isabel Rose Gippo" userId="S::irg9370@ads.northwestern.edu::b10bfe7e-55b9-46dd-9add-2eb52cb66d3b" providerId="AD" clId="Web-{6F4BA6F9-4A5A-3B13-85C3-6DB0B61CBC00}" dt="2023-10-24T14:46:13.480" v="248" actId="1076"/>
          <ac:spMkLst>
            <pc:docMk/>
            <pc:sldMk cId="2849312483" sldId="570"/>
            <ac:spMk id="10" creationId="{C8307CA0-040F-CDB1-5F4D-16A04C6E74DF}"/>
          </ac:spMkLst>
        </pc:spChg>
        <pc:spChg chg="mod">
          <ac:chgData name="Isabel Rose Gippo" userId="S::irg9370@ads.northwestern.edu::b10bfe7e-55b9-46dd-9add-2eb52cb66d3b" providerId="AD" clId="Web-{6F4BA6F9-4A5A-3B13-85C3-6DB0B61CBC00}" dt="2023-10-24T14:58:32.123" v="441" actId="1076"/>
          <ac:spMkLst>
            <pc:docMk/>
            <pc:sldMk cId="2849312483" sldId="570"/>
            <ac:spMk id="16386" creationId="{00000000-0000-0000-0000-000000000000}"/>
          </ac:spMkLst>
        </pc:spChg>
        <pc:picChg chg="add mod modCrop">
          <ac:chgData name="Isabel Rose Gippo" userId="S::irg9370@ads.northwestern.edu::b10bfe7e-55b9-46dd-9add-2eb52cb66d3b" providerId="AD" clId="Web-{6F4BA6F9-4A5A-3B13-85C3-6DB0B61CBC00}" dt="2023-10-24T14:26:44.169" v="9" actId="1076"/>
          <ac:picMkLst>
            <pc:docMk/>
            <pc:sldMk cId="2849312483" sldId="570"/>
            <ac:picMk id="2" creationId="{D549A1D4-41B1-1D6F-42CB-8A4CB202EBC2}"/>
          </ac:picMkLst>
        </pc:picChg>
        <pc:picChg chg="add mod">
          <ac:chgData name="Isabel Rose Gippo" userId="S::irg9370@ads.northwestern.edu::b10bfe7e-55b9-46dd-9add-2eb52cb66d3b" providerId="AD" clId="Web-{6F4BA6F9-4A5A-3B13-85C3-6DB0B61CBC00}" dt="2023-10-24T14:45:56.854" v="244" actId="1076"/>
          <ac:picMkLst>
            <pc:docMk/>
            <pc:sldMk cId="2849312483" sldId="570"/>
            <ac:picMk id="3" creationId="{4DA2BC9A-416B-F3D1-6F75-394A69766AB0}"/>
          </ac:picMkLst>
        </pc:picChg>
        <pc:picChg chg="del mod">
          <ac:chgData name="Isabel Rose Gippo" userId="S::irg9370@ads.northwestern.edu::b10bfe7e-55b9-46dd-9add-2eb52cb66d3b" providerId="AD" clId="Web-{6F4BA6F9-4A5A-3B13-85C3-6DB0B61CBC00}" dt="2023-10-24T14:45:45.604" v="241"/>
          <ac:picMkLst>
            <pc:docMk/>
            <pc:sldMk cId="2849312483" sldId="570"/>
            <ac:picMk id="8" creationId="{59E0F2EE-E480-541D-E8E7-5C865B35C88F}"/>
          </ac:picMkLst>
        </pc:picChg>
        <pc:picChg chg="del">
          <ac:chgData name="Isabel Rose Gippo" userId="S::irg9370@ads.northwestern.edu::b10bfe7e-55b9-46dd-9add-2eb52cb66d3b" providerId="AD" clId="Web-{6F4BA6F9-4A5A-3B13-85C3-6DB0B61CBC00}" dt="2023-10-24T14:26:18.934" v="4"/>
          <ac:picMkLst>
            <pc:docMk/>
            <pc:sldMk cId="2849312483" sldId="570"/>
            <ac:picMk id="13" creationId="{03BF52CD-31EC-FC46-9A7F-3B257CCAC6A4}"/>
          </ac:picMkLst>
        </pc:picChg>
      </pc:sldChg>
      <pc:sldChg chg="addSp delSp modSp add ord replId">
        <pc:chgData name="Isabel Rose Gippo" userId="S::irg9370@ads.northwestern.edu::b10bfe7e-55b9-46dd-9add-2eb52cb66d3b" providerId="AD" clId="Web-{6F4BA6F9-4A5A-3B13-85C3-6DB0B61CBC00}" dt="2023-10-24T15:15:11.101" v="905" actId="1076"/>
        <pc:sldMkLst>
          <pc:docMk/>
          <pc:sldMk cId="1337825202" sldId="571"/>
        </pc:sldMkLst>
        <pc:spChg chg="add mod">
          <ac:chgData name="Isabel Rose Gippo" userId="S::irg9370@ads.northwestern.edu::b10bfe7e-55b9-46dd-9add-2eb52cb66d3b" providerId="AD" clId="Web-{6F4BA6F9-4A5A-3B13-85C3-6DB0B61CBC00}" dt="2023-10-24T14:58:09.169" v="438" actId="1076"/>
          <ac:spMkLst>
            <pc:docMk/>
            <pc:sldMk cId="1337825202" sldId="571"/>
            <ac:spMk id="4" creationId="{16B24218-AF37-F6C6-7684-E7E3C16AFAF4}"/>
          </ac:spMkLst>
        </pc:spChg>
        <pc:spChg chg="add mod">
          <ac:chgData name="Isabel Rose Gippo" userId="S::irg9370@ads.northwestern.edu::b10bfe7e-55b9-46dd-9add-2eb52cb66d3b" providerId="AD" clId="Web-{6F4BA6F9-4A5A-3B13-85C3-6DB0B61CBC00}" dt="2023-10-24T15:10:52.157" v="734" actId="1076"/>
          <ac:spMkLst>
            <pc:docMk/>
            <pc:sldMk cId="1337825202" sldId="571"/>
            <ac:spMk id="5" creationId="{45477BD9-E066-785E-8D58-760863918D07}"/>
          </ac:spMkLst>
        </pc:spChg>
        <pc:spChg chg="add mod ord">
          <ac:chgData name="Isabel Rose Gippo" userId="S::irg9370@ads.northwestern.edu::b10bfe7e-55b9-46dd-9add-2eb52cb66d3b" providerId="AD" clId="Web-{6F4BA6F9-4A5A-3B13-85C3-6DB0B61CBC00}" dt="2023-10-24T15:12:27.613" v="746" actId="14100"/>
          <ac:spMkLst>
            <pc:docMk/>
            <pc:sldMk cId="1337825202" sldId="571"/>
            <ac:spMk id="7" creationId="{70F70170-82A9-3F58-8A7E-1C8F0DE96C28}"/>
          </ac:spMkLst>
        </pc:spChg>
        <pc:spChg chg="add mod">
          <ac:chgData name="Isabel Rose Gippo" userId="S::irg9370@ads.northwestern.edu::b10bfe7e-55b9-46dd-9add-2eb52cb66d3b" providerId="AD" clId="Web-{6F4BA6F9-4A5A-3B13-85C3-6DB0B61CBC00}" dt="2023-10-24T15:11:07.955" v="736" actId="1076"/>
          <ac:spMkLst>
            <pc:docMk/>
            <pc:sldMk cId="1337825202" sldId="571"/>
            <ac:spMk id="9" creationId="{16E68D9A-C1B6-0901-3EFC-15C208817766}"/>
          </ac:spMkLst>
        </pc:spChg>
        <pc:spChg chg="add mod">
          <ac:chgData name="Isabel Rose Gippo" userId="S::irg9370@ads.northwestern.edu::b10bfe7e-55b9-46dd-9add-2eb52cb66d3b" providerId="AD" clId="Web-{6F4BA6F9-4A5A-3B13-85C3-6DB0B61CBC00}" dt="2023-10-24T15:11:14.377" v="737" actId="1076"/>
          <ac:spMkLst>
            <pc:docMk/>
            <pc:sldMk cId="1337825202" sldId="571"/>
            <ac:spMk id="10" creationId="{25AE8A2F-EC9C-3068-BE56-5960B5C6DCA1}"/>
          </ac:spMkLst>
        </pc:spChg>
        <pc:spChg chg="add mod">
          <ac:chgData name="Isabel Rose Gippo" userId="S::irg9370@ads.northwestern.edu::b10bfe7e-55b9-46dd-9add-2eb52cb66d3b" providerId="AD" clId="Web-{6F4BA6F9-4A5A-3B13-85C3-6DB0B61CBC00}" dt="2023-10-24T15:11:21.221" v="738" actId="1076"/>
          <ac:spMkLst>
            <pc:docMk/>
            <pc:sldMk cId="1337825202" sldId="571"/>
            <ac:spMk id="11" creationId="{F406DC6F-8C94-AF9D-26F8-B81A3F9E5004}"/>
          </ac:spMkLst>
        </pc:spChg>
        <pc:spChg chg="add mod">
          <ac:chgData name="Isabel Rose Gippo" userId="S::irg9370@ads.northwestern.edu::b10bfe7e-55b9-46dd-9add-2eb52cb66d3b" providerId="AD" clId="Web-{6F4BA6F9-4A5A-3B13-85C3-6DB0B61CBC00}" dt="2023-10-24T15:11:37.909" v="741" actId="1076"/>
          <ac:spMkLst>
            <pc:docMk/>
            <pc:sldMk cId="1337825202" sldId="571"/>
            <ac:spMk id="12" creationId="{913F4C80-BE39-2B7C-C4A4-98B839B10F3C}"/>
          </ac:spMkLst>
        </pc:spChg>
        <pc:spChg chg="add mod">
          <ac:chgData name="Isabel Rose Gippo" userId="S::irg9370@ads.northwestern.edu::b10bfe7e-55b9-46dd-9add-2eb52cb66d3b" providerId="AD" clId="Web-{6F4BA6F9-4A5A-3B13-85C3-6DB0B61CBC00}" dt="2023-10-24T15:11:32.768" v="740" actId="1076"/>
          <ac:spMkLst>
            <pc:docMk/>
            <pc:sldMk cId="1337825202" sldId="571"/>
            <ac:spMk id="13" creationId="{CA29CC08-AC6C-D03F-4212-3671B5C0255E}"/>
          </ac:spMkLst>
        </pc:spChg>
        <pc:spChg chg="add mod">
          <ac:chgData name="Isabel Rose Gippo" userId="S::irg9370@ads.northwestern.edu::b10bfe7e-55b9-46dd-9add-2eb52cb66d3b" providerId="AD" clId="Web-{6F4BA6F9-4A5A-3B13-85C3-6DB0B61CBC00}" dt="2023-10-24T15:11:44.581" v="742" actId="1076"/>
          <ac:spMkLst>
            <pc:docMk/>
            <pc:sldMk cId="1337825202" sldId="571"/>
            <ac:spMk id="14" creationId="{56D7802A-D9E3-5022-FEB1-A5E340BE8541}"/>
          </ac:spMkLst>
        </pc:spChg>
        <pc:spChg chg="add mod">
          <ac:chgData name="Isabel Rose Gippo" userId="S::irg9370@ads.northwestern.edu::b10bfe7e-55b9-46dd-9add-2eb52cb66d3b" providerId="AD" clId="Web-{6F4BA6F9-4A5A-3B13-85C3-6DB0B61CBC00}" dt="2023-10-24T15:11:52.956" v="743" actId="1076"/>
          <ac:spMkLst>
            <pc:docMk/>
            <pc:sldMk cId="1337825202" sldId="571"/>
            <ac:spMk id="15" creationId="{33C1CB15-DF62-AAD5-40DF-C348B0B14C79}"/>
          </ac:spMkLst>
        </pc:spChg>
        <pc:spChg chg="add">
          <ac:chgData name="Isabel Rose Gippo" userId="S::irg9370@ads.northwestern.edu::b10bfe7e-55b9-46dd-9add-2eb52cb66d3b" providerId="AD" clId="Web-{6F4BA6F9-4A5A-3B13-85C3-6DB0B61CBC00}" dt="2023-10-24T15:12:40.520" v="747"/>
          <ac:spMkLst>
            <pc:docMk/>
            <pc:sldMk cId="1337825202" sldId="571"/>
            <ac:spMk id="16" creationId="{F313A7DF-7EB6-E236-0B93-A3D3C3E562BC}"/>
          </ac:spMkLst>
        </pc:spChg>
        <pc:spChg chg="add mod">
          <ac:chgData name="Isabel Rose Gippo" userId="S::irg9370@ads.northwestern.edu::b10bfe7e-55b9-46dd-9add-2eb52cb66d3b" providerId="AD" clId="Web-{6F4BA6F9-4A5A-3B13-85C3-6DB0B61CBC00}" dt="2023-10-24T15:15:11.101" v="905" actId="1076"/>
          <ac:spMkLst>
            <pc:docMk/>
            <pc:sldMk cId="1337825202" sldId="571"/>
            <ac:spMk id="17" creationId="{F322531C-B747-9294-091C-9F40532B993A}"/>
          </ac:spMkLst>
        </pc:spChg>
        <pc:spChg chg="mod">
          <ac:chgData name="Isabel Rose Gippo" userId="S::irg9370@ads.northwestern.edu::b10bfe7e-55b9-46dd-9add-2eb52cb66d3b" providerId="AD" clId="Web-{6F4BA6F9-4A5A-3B13-85C3-6DB0B61CBC00}" dt="2023-10-24T14:57:39.325" v="425" actId="1076"/>
          <ac:spMkLst>
            <pc:docMk/>
            <pc:sldMk cId="1337825202" sldId="571"/>
            <ac:spMk id="19" creationId="{F49C1F1A-614A-5749-1A3F-78980B65ADBC}"/>
          </ac:spMkLst>
        </pc:spChg>
        <pc:spChg chg="mod">
          <ac:chgData name="Isabel Rose Gippo" userId="S::irg9370@ads.northwestern.edu::b10bfe7e-55b9-46dd-9add-2eb52cb66d3b" providerId="AD" clId="Web-{6F4BA6F9-4A5A-3B13-85C3-6DB0B61CBC00}" dt="2023-10-24T14:58:21.529" v="439" actId="1076"/>
          <ac:spMkLst>
            <pc:docMk/>
            <pc:sldMk cId="1337825202" sldId="571"/>
            <ac:spMk id="16386" creationId="{00000000-0000-0000-0000-000000000000}"/>
          </ac:spMkLst>
        </pc:spChg>
        <pc:picChg chg="del">
          <ac:chgData name="Isabel Rose Gippo" userId="S::irg9370@ads.northwestern.edu::b10bfe7e-55b9-46dd-9add-2eb52cb66d3b" providerId="AD" clId="Web-{6F4BA6F9-4A5A-3B13-85C3-6DB0B61CBC00}" dt="2023-10-24T14:28:03.140" v="46"/>
          <ac:picMkLst>
            <pc:docMk/>
            <pc:sldMk cId="1337825202" sldId="571"/>
            <ac:picMk id="2" creationId="{7088B35E-417D-2903-C144-75276D9E0FF3}"/>
          </ac:picMkLst>
        </pc:picChg>
        <pc:picChg chg="add mod">
          <ac:chgData name="Isabel Rose Gippo" userId="S::irg9370@ads.northwestern.edu::b10bfe7e-55b9-46dd-9add-2eb52cb66d3b" providerId="AD" clId="Web-{6F4BA6F9-4A5A-3B13-85C3-6DB0B61CBC00}" dt="2023-10-24T14:57:54.528" v="431" actId="14100"/>
          <ac:picMkLst>
            <pc:docMk/>
            <pc:sldMk cId="1337825202" sldId="571"/>
            <ac:picMk id="3" creationId="{295316AB-273C-55D8-0FED-C92B67DB5F3C}"/>
          </ac:picMkLst>
        </pc:picChg>
        <pc:picChg chg="add mod">
          <ac:chgData name="Isabel Rose Gippo" userId="S::irg9370@ads.northwestern.edu::b10bfe7e-55b9-46dd-9add-2eb52cb66d3b" providerId="AD" clId="Web-{6F4BA6F9-4A5A-3B13-85C3-6DB0B61CBC00}" dt="2023-10-24T15:11:02.736" v="735" actId="1076"/>
          <ac:picMkLst>
            <pc:docMk/>
            <pc:sldMk cId="1337825202" sldId="571"/>
            <ac:picMk id="6" creationId="{D2D0700A-FC9B-84DC-6A25-6288ECF7D29A}"/>
          </ac:picMkLst>
        </pc:picChg>
      </pc:sldChg>
      <pc:sldChg chg="modSp add del replId">
        <pc:chgData name="Isabel Rose Gippo" userId="S::irg9370@ads.northwestern.edu::b10bfe7e-55b9-46dd-9add-2eb52cb66d3b" providerId="AD" clId="Web-{6F4BA6F9-4A5A-3B13-85C3-6DB0B61CBC00}" dt="2023-10-24T15:15:28.883" v="910"/>
        <pc:sldMkLst>
          <pc:docMk/>
          <pc:sldMk cId="2676048260" sldId="574"/>
        </pc:sldMkLst>
        <pc:spChg chg="mod">
          <ac:chgData name="Isabel Rose Gippo" userId="S::irg9370@ads.northwestern.edu::b10bfe7e-55b9-46dd-9add-2eb52cb66d3b" providerId="AD" clId="Web-{6F4BA6F9-4A5A-3B13-85C3-6DB0B61CBC00}" dt="2023-10-24T15:09:52.078" v="731" actId="20577"/>
          <ac:spMkLst>
            <pc:docMk/>
            <pc:sldMk cId="2676048260" sldId="574"/>
            <ac:spMk id="5" creationId="{45477BD9-E066-785E-8D58-760863918D07}"/>
          </ac:spMkLst>
        </pc:spChg>
        <pc:spChg chg="mod">
          <ac:chgData name="Isabel Rose Gippo" userId="S::irg9370@ads.northwestern.edu::b10bfe7e-55b9-46dd-9add-2eb52cb66d3b" providerId="AD" clId="Web-{6F4BA6F9-4A5A-3B13-85C3-6DB0B61CBC00}" dt="2023-10-24T15:09:58.547" v="732"/>
          <ac:spMkLst>
            <pc:docMk/>
            <pc:sldMk cId="2676048260" sldId="574"/>
            <ac:spMk id="7" creationId="{70F70170-82A9-3F58-8A7E-1C8F0DE96C28}"/>
          </ac:spMkLst>
        </pc:spChg>
        <pc:spChg chg="mod">
          <ac:chgData name="Isabel Rose Gippo" userId="S::irg9370@ads.northwestern.edu::b10bfe7e-55b9-46dd-9add-2eb52cb66d3b" providerId="AD" clId="Web-{6F4BA6F9-4A5A-3B13-85C3-6DB0B61CBC00}" dt="2023-10-24T15:09:41.171" v="729" actId="20577"/>
          <ac:spMkLst>
            <pc:docMk/>
            <pc:sldMk cId="2676048260" sldId="574"/>
            <ac:spMk id="16386" creationId="{00000000-0000-0000-0000-000000000000}"/>
          </ac:spMkLst>
        </pc:spChg>
      </pc:sldChg>
      <pc:sldChg chg="addSp delSp modSp add del replId">
        <pc:chgData name="Isabel Rose Gippo" userId="S::irg9370@ads.northwestern.edu::b10bfe7e-55b9-46dd-9add-2eb52cb66d3b" providerId="AD" clId="Web-{6F4BA6F9-4A5A-3B13-85C3-6DB0B61CBC00}" dt="2023-10-24T15:55:34.943" v="1689" actId="1076"/>
        <pc:sldMkLst>
          <pc:docMk/>
          <pc:sldMk cId="1568500938" sldId="575"/>
        </pc:sldMkLst>
        <pc:spChg chg="mod">
          <ac:chgData name="Isabel Rose Gippo" userId="S::irg9370@ads.northwestern.edu::b10bfe7e-55b9-46dd-9add-2eb52cb66d3b" providerId="AD" clId="Web-{6F4BA6F9-4A5A-3B13-85C3-6DB0B61CBC00}" dt="2023-10-24T15:22:51.394" v="981" actId="1076"/>
          <ac:spMkLst>
            <pc:docMk/>
            <pc:sldMk cId="1568500938" sldId="575"/>
            <ac:spMk id="4" creationId="{16B24218-AF37-F6C6-7684-E7E3C16AFAF4}"/>
          </ac:spMkLst>
        </pc:spChg>
        <pc:spChg chg="mod">
          <ac:chgData name="Isabel Rose Gippo" userId="S::irg9370@ads.northwestern.edu::b10bfe7e-55b9-46dd-9add-2eb52cb66d3b" providerId="AD" clId="Web-{6F4BA6F9-4A5A-3B13-85C3-6DB0B61CBC00}" dt="2023-10-24T15:15:41.665" v="912" actId="20577"/>
          <ac:spMkLst>
            <pc:docMk/>
            <pc:sldMk cId="1568500938" sldId="575"/>
            <ac:spMk id="5" creationId="{45477BD9-E066-785E-8D58-760863918D07}"/>
          </ac:spMkLst>
        </pc:spChg>
        <pc:spChg chg="mod">
          <ac:chgData name="Isabel Rose Gippo" userId="S::irg9370@ads.northwestern.edu::b10bfe7e-55b9-46dd-9add-2eb52cb66d3b" providerId="AD" clId="Web-{6F4BA6F9-4A5A-3B13-85C3-6DB0B61CBC00}" dt="2023-10-24T15:15:36.930" v="911"/>
          <ac:spMkLst>
            <pc:docMk/>
            <pc:sldMk cId="1568500938" sldId="575"/>
            <ac:spMk id="7" creationId="{70F70170-82A9-3F58-8A7E-1C8F0DE96C28}"/>
          </ac:spMkLst>
        </pc:spChg>
        <pc:spChg chg="mod">
          <ac:chgData name="Isabel Rose Gippo" userId="S::irg9370@ads.northwestern.edu::b10bfe7e-55b9-46dd-9add-2eb52cb66d3b" providerId="AD" clId="Web-{6F4BA6F9-4A5A-3B13-85C3-6DB0B61CBC00}" dt="2023-10-24T15:30:40.812" v="1090" actId="1076"/>
          <ac:spMkLst>
            <pc:docMk/>
            <pc:sldMk cId="1568500938" sldId="575"/>
            <ac:spMk id="9" creationId="{16E68D9A-C1B6-0901-3EFC-15C208817766}"/>
          </ac:spMkLst>
        </pc:spChg>
        <pc:spChg chg="mod">
          <ac:chgData name="Isabel Rose Gippo" userId="S::irg9370@ads.northwestern.edu::b10bfe7e-55b9-46dd-9add-2eb52cb66d3b" providerId="AD" clId="Web-{6F4BA6F9-4A5A-3B13-85C3-6DB0B61CBC00}" dt="2023-10-24T15:30:48.922" v="1091" actId="1076"/>
          <ac:spMkLst>
            <pc:docMk/>
            <pc:sldMk cId="1568500938" sldId="575"/>
            <ac:spMk id="10" creationId="{25AE8A2F-EC9C-3068-BE56-5960B5C6DCA1}"/>
          </ac:spMkLst>
        </pc:spChg>
        <pc:spChg chg="mod">
          <ac:chgData name="Isabel Rose Gippo" userId="S::irg9370@ads.northwestern.edu::b10bfe7e-55b9-46dd-9add-2eb52cb66d3b" providerId="AD" clId="Web-{6F4BA6F9-4A5A-3B13-85C3-6DB0B61CBC00}" dt="2023-10-24T15:30:52.359" v="1092" actId="1076"/>
          <ac:spMkLst>
            <pc:docMk/>
            <pc:sldMk cId="1568500938" sldId="575"/>
            <ac:spMk id="11" creationId="{F406DC6F-8C94-AF9D-26F8-B81A3F9E5004}"/>
          </ac:spMkLst>
        </pc:spChg>
        <pc:spChg chg="mod">
          <ac:chgData name="Isabel Rose Gippo" userId="S::irg9370@ads.northwestern.edu::b10bfe7e-55b9-46dd-9add-2eb52cb66d3b" providerId="AD" clId="Web-{6F4BA6F9-4A5A-3B13-85C3-6DB0B61CBC00}" dt="2023-10-24T15:30:55.109" v="1093" actId="1076"/>
          <ac:spMkLst>
            <pc:docMk/>
            <pc:sldMk cId="1568500938" sldId="575"/>
            <ac:spMk id="12" creationId="{913F4C80-BE39-2B7C-C4A4-98B839B10F3C}"/>
          </ac:spMkLst>
        </pc:spChg>
        <pc:spChg chg="mod">
          <ac:chgData name="Isabel Rose Gippo" userId="S::irg9370@ads.northwestern.edu::b10bfe7e-55b9-46dd-9add-2eb52cb66d3b" providerId="AD" clId="Web-{6F4BA6F9-4A5A-3B13-85C3-6DB0B61CBC00}" dt="2023-10-24T15:30:59.516" v="1094" actId="1076"/>
          <ac:spMkLst>
            <pc:docMk/>
            <pc:sldMk cId="1568500938" sldId="575"/>
            <ac:spMk id="13" creationId="{CA29CC08-AC6C-D03F-4212-3671B5C0255E}"/>
          </ac:spMkLst>
        </pc:spChg>
        <pc:spChg chg="mod">
          <ac:chgData name="Isabel Rose Gippo" userId="S::irg9370@ads.northwestern.edu::b10bfe7e-55b9-46dd-9add-2eb52cb66d3b" providerId="AD" clId="Web-{6F4BA6F9-4A5A-3B13-85C3-6DB0B61CBC00}" dt="2023-10-24T15:31:03.172" v="1095" actId="1076"/>
          <ac:spMkLst>
            <pc:docMk/>
            <pc:sldMk cId="1568500938" sldId="575"/>
            <ac:spMk id="14" creationId="{56D7802A-D9E3-5022-FEB1-A5E340BE8541}"/>
          </ac:spMkLst>
        </pc:spChg>
        <pc:spChg chg="mod">
          <ac:chgData name="Isabel Rose Gippo" userId="S::irg9370@ads.northwestern.edu::b10bfe7e-55b9-46dd-9add-2eb52cb66d3b" providerId="AD" clId="Web-{6F4BA6F9-4A5A-3B13-85C3-6DB0B61CBC00}" dt="2023-10-24T15:31:07.750" v="1096" actId="1076"/>
          <ac:spMkLst>
            <pc:docMk/>
            <pc:sldMk cId="1568500938" sldId="575"/>
            <ac:spMk id="15" creationId="{33C1CB15-DF62-AAD5-40DF-C348B0B14C79}"/>
          </ac:spMkLst>
        </pc:spChg>
        <pc:spChg chg="mod">
          <ac:chgData name="Isabel Rose Gippo" userId="S::irg9370@ads.northwestern.edu::b10bfe7e-55b9-46dd-9add-2eb52cb66d3b" providerId="AD" clId="Web-{6F4BA6F9-4A5A-3B13-85C3-6DB0B61CBC00}" dt="2023-10-24T15:34:03.114" v="1206" actId="20577"/>
          <ac:spMkLst>
            <pc:docMk/>
            <pc:sldMk cId="1568500938" sldId="575"/>
            <ac:spMk id="17" creationId="{F322531C-B747-9294-091C-9F40532B993A}"/>
          </ac:spMkLst>
        </pc:spChg>
        <pc:spChg chg="mod">
          <ac:chgData name="Isabel Rose Gippo" userId="S::irg9370@ads.northwestern.edu::b10bfe7e-55b9-46dd-9add-2eb52cb66d3b" providerId="AD" clId="Web-{6F4BA6F9-4A5A-3B13-85C3-6DB0B61CBC00}" dt="2023-10-24T15:22:48.097" v="980" actId="1076"/>
          <ac:spMkLst>
            <pc:docMk/>
            <pc:sldMk cId="1568500938" sldId="575"/>
            <ac:spMk id="19" creationId="{F49C1F1A-614A-5749-1A3F-78980B65ADBC}"/>
          </ac:spMkLst>
        </pc:spChg>
        <pc:spChg chg="add mod">
          <ac:chgData name="Isabel Rose Gippo" userId="S::irg9370@ads.northwestern.edu::b10bfe7e-55b9-46dd-9add-2eb52cb66d3b" providerId="AD" clId="Web-{6F4BA6F9-4A5A-3B13-85C3-6DB0B61CBC00}" dt="2023-10-24T15:31:11.344" v="1097" actId="1076"/>
          <ac:spMkLst>
            <pc:docMk/>
            <pc:sldMk cId="1568500938" sldId="575"/>
            <ac:spMk id="21" creationId="{16124592-48C8-CBB5-0C67-F7EC7BD3F818}"/>
          </ac:spMkLst>
        </pc:spChg>
        <pc:spChg chg="add del mod">
          <ac:chgData name="Isabel Rose Gippo" userId="S::irg9370@ads.northwestern.edu::b10bfe7e-55b9-46dd-9add-2eb52cb66d3b" providerId="AD" clId="Web-{6F4BA6F9-4A5A-3B13-85C3-6DB0B61CBC00}" dt="2023-10-24T15:31:53.142" v="1125"/>
          <ac:spMkLst>
            <pc:docMk/>
            <pc:sldMk cId="1568500938" sldId="575"/>
            <ac:spMk id="22" creationId="{79C0A09F-BAC0-9497-B649-4AFA9FF44101}"/>
          </ac:spMkLst>
        </pc:spChg>
        <pc:spChg chg="add mod">
          <ac:chgData name="Isabel Rose Gippo" userId="S::irg9370@ads.northwestern.edu::b10bfe7e-55b9-46dd-9add-2eb52cb66d3b" providerId="AD" clId="Web-{6F4BA6F9-4A5A-3B13-85C3-6DB0B61CBC00}" dt="2023-10-24T15:33:52.380" v="1203" actId="1076"/>
          <ac:spMkLst>
            <pc:docMk/>
            <pc:sldMk cId="1568500938" sldId="575"/>
            <ac:spMk id="23" creationId="{242E4660-E8A4-DB53-3AE0-E98317C0C8D3}"/>
          </ac:spMkLst>
        </pc:spChg>
        <pc:spChg chg="mod">
          <ac:chgData name="Isabel Rose Gippo" userId="S::irg9370@ads.northwestern.edu::b10bfe7e-55b9-46dd-9add-2eb52cb66d3b" providerId="AD" clId="Web-{6F4BA6F9-4A5A-3B13-85C3-6DB0B61CBC00}" dt="2023-10-24T15:15:26.242" v="909" actId="20577"/>
          <ac:spMkLst>
            <pc:docMk/>
            <pc:sldMk cId="1568500938" sldId="575"/>
            <ac:spMk id="16386" creationId="{00000000-0000-0000-0000-000000000000}"/>
          </ac:spMkLst>
        </pc:spChg>
        <pc:picChg chg="add del mod">
          <ac:chgData name="Isabel Rose Gippo" userId="S::irg9370@ads.northwestern.edu::b10bfe7e-55b9-46dd-9add-2eb52cb66d3b" providerId="AD" clId="Web-{6F4BA6F9-4A5A-3B13-85C3-6DB0B61CBC00}" dt="2023-10-24T15:18:28.763" v="935"/>
          <ac:picMkLst>
            <pc:docMk/>
            <pc:sldMk cId="1568500938" sldId="575"/>
            <ac:picMk id="2" creationId="{95BB1340-67B2-9A3C-8B7D-1DAD7401068E}"/>
          </ac:picMkLst>
        </pc:picChg>
        <pc:picChg chg="del">
          <ac:chgData name="Isabel Rose Gippo" userId="S::irg9370@ads.northwestern.edu::b10bfe7e-55b9-46dd-9add-2eb52cb66d3b" providerId="AD" clId="Web-{6F4BA6F9-4A5A-3B13-85C3-6DB0B61CBC00}" dt="2023-10-24T15:17:12.761" v="916"/>
          <ac:picMkLst>
            <pc:docMk/>
            <pc:sldMk cId="1568500938" sldId="575"/>
            <ac:picMk id="3" creationId="{295316AB-273C-55D8-0FED-C92B67DB5F3C}"/>
          </ac:picMkLst>
        </pc:picChg>
        <pc:picChg chg="del mod">
          <ac:chgData name="Isabel Rose Gippo" userId="S::irg9370@ads.northwestern.edu::b10bfe7e-55b9-46dd-9add-2eb52cb66d3b" providerId="AD" clId="Web-{6F4BA6F9-4A5A-3B13-85C3-6DB0B61CBC00}" dt="2023-10-24T15:26:38.150" v="986"/>
          <ac:picMkLst>
            <pc:docMk/>
            <pc:sldMk cId="1568500938" sldId="575"/>
            <ac:picMk id="6" creationId="{D2D0700A-FC9B-84DC-6A25-6288ECF7D29A}"/>
          </ac:picMkLst>
        </pc:picChg>
        <pc:picChg chg="add mod">
          <ac:chgData name="Isabel Rose Gippo" userId="S::irg9370@ads.northwestern.edu::b10bfe7e-55b9-46dd-9add-2eb52cb66d3b" providerId="AD" clId="Web-{6F4BA6F9-4A5A-3B13-85C3-6DB0B61CBC00}" dt="2023-10-24T15:55:34.943" v="1689" actId="1076"/>
          <ac:picMkLst>
            <pc:docMk/>
            <pc:sldMk cId="1568500938" sldId="575"/>
            <ac:picMk id="8" creationId="{C4A61916-BC63-F6E7-BBA0-F124F7732FEA}"/>
          </ac:picMkLst>
        </pc:picChg>
        <pc:picChg chg="add del mod">
          <ac:chgData name="Isabel Rose Gippo" userId="S::irg9370@ads.northwestern.edu::b10bfe7e-55b9-46dd-9add-2eb52cb66d3b" providerId="AD" clId="Web-{6F4BA6F9-4A5A-3B13-85C3-6DB0B61CBC00}" dt="2023-10-24T15:27:20.839" v="994"/>
          <ac:picMkLst>
            <pc:docMk/>
            <pc:sldMk cId="1568500938" sldId="575"/>
            <ac:picMk id="18" creationId="{BCD3C2AF-D968-0135-4B4D-CDF4831C9AC7}"/>
          </ac:picMkLst>
        </pc:picChg>
        <pc:picChg chg="add mod">
          <ac:chgData name="Isabel Rose Gippo" userId="S::irg9370@ads.northwestern.edu::b10bfe7e-55b9-46dd-9add-2eb52cb66d3b" providerId="AD" clId="Web-{6F4BA6F9-4A5A-3B13-85C3-6DB0B61CBC00}" dt="2023-10-24T15:30:35.140" v="1089" actId="1076"/>
          <ac:picMkLst>
            <pc:docMk/>
            <pc:sldMk cId="1568500938" sldId="575"/>
            <ac:picMk id="20" creationId="{B6BEFD36-21D1-F003-8218-38BCE13A76CD}"/>
          </ac:picMkLst>
        </pc:picChg>
      </pc:sldChg>
      <pc:sldChg chg="addSp delSp modSp add del replId">
        <pc:chgData name="Isabel Rose Gippo" userId="S::irg9370@ads.northwestern.edu::b10bfe7e-55b9-46dd-9add-2eb52cb66d3b" providerId="AD" clId="Web-{6F4BA6F9-4A5A-3B13-85C3-6DB0B61CBC00}" dt="2023-10-24T15:55:22.521" v="1688"/>
        <pc:sldMkLst>
          <pc:docMk/>
          <pc:sldMk cId="1407824229" sldId="576"/>
        </pc:sldMkLst>
        <pc:spChg chg="add mod ord">
          <ac:chgData name="Isabel Rose Gippo" userId="S::irg9370@ads.northwestern.edu::b10bfe7e-55b9-46dd-9add-2eb52cb66d3b" providerId="AD" clId="Web-{6F4BA6F9-4A5A-3B13-85C3-6DB0B61CBC00}" dt="2023-10-24T15:55:16.099" v="1687"/>
          <ac:spMkLst>
            <pc:docMk/>
            <pc:sldMk cId="1407824229" sldId="576"/>
            <ac:spMk id="3" creationId="{E820A2E4-4F18-6799-9BD9-B308061CC76C}"/>
          </ac:spMkLst>
        </pc:spChg>
        <pc:spChg chg="del">
          <ac:chgData name="Isabel Rose Gippo" userId="S::irg9370@ads.northwestern.edu::b10bfe7e-55b9-46dd-9add-2eb52cb66d3b" providerId="AD" clId="Web-{6F4BA6F9-4A5A-3B13-85C3-6DB0B61CBC00}" dt="2023-10-24T15:38:43.746" v="1261"/>
          <ac:spMkLst>
            <pc:docMk/>
            <pc:sldMk cId="1407824229" sldId="576"/>
            <ac:spMk id="4" creationId="{16B24218-AF37-F6C6-7684-E7E3C16AFAF4}"/>
          </ac:spMkLst>
        </pc:spChg>
        <pc:spChg chg="mod">
          <ac:chgData name="Isabel Rose Gippo" userId="S::irg9370@ads.northwestern.edu::b10bfe7e-55b9-46dd-9add-2eb52cb66d3b" providerId="AD" clId="Web-{6F4BA6F9-4A5A-3B13-85C3-6DB0B61CBC00}" dt="2023-10-24T15:55:00.771" v="1686" actId="1076"/>
          <ac:spMkLst>
            <pc:docMk/>
            <pc:sldMk cId="1407824229" sldId="576"/>
            <ac:spMk id="5" creationId="{45477BD9-E066-785E-8D58-760863918D07}"/>
          </ac:spMkLst>
        </pc:spChg>
        <pc:spChg chg="add mod">
          <ac:chgData name="Isabel Rose Gippo" userId="S::irg9370@ads.northwestern.edu::b10bfe7e-55b9-46dd-9add-2eb52cb66d3b" providerId="AD" clId="Web-{6F4BA6F9-4A5A-3B13-85C3-6DB0B61CBC00}" dt="2023-10-24T15:55:22.521" v="1688"/>
          <ac:spMkLst>
            <pc:docMk/>
            <pc:sldMk cId="1407824229" sldId="576"/>
            <ac:spMk id="6" creationId="{ADFC1F5A-A2FF-8C65-F763-941E2E4DFF8C}"/>
          </ac:spMkLst>
        </pc:spChg>
        <pc:spChg chg="mod">
          <ac:chgData name="Isabel Rose Gippo" userId="S::irg9370@ads.northwestern.edu::b10bfe7e-55b9-46dd-9add-2eb52cb66d3b" providerId="AD" clId="Web-{6F4BA6F9-4A5A-3B13-85C3-6DB0B61CBC00}" dt="2023-10-24T15:46:13.601" v="1454"/>
          <ac:spMkLst>
            <pc:docMk/>
            <pc:sldMk cId="1407824229" sldId="576"/>
            <ac:spMk id="7" creationId="{70F70170-82A9-3F58-8A7E-1C8F0DE96C28}"/>
          </ac:spMkLst>
        </pc:spChg>
        <pc:spChg chg="del">
          <ac:chgData name="Isabel Rose Gippo" userId="S::irg9370@ads.northwestern.edu::b10bfe7e-55b9-46dd-9add-2eb52cb66d3b" providerId="AD" clId="Web-{6F4BA6F9-4A5A-3B13-85C3-6DB0B61CBC00}" dt="2023-10-24T15:48:10.464" v="1469"/>
          <ac:spMkLst>
            <pc:docMk/>
            <pc:sldMk cId="1407824229" sldId="576"/>
            <ac:spMk id="9" creationId="{16E68D9A-C1B6-0901-3EFC-15C208817766}"/>
          </ac:spMkLst>
        </pc:spChg>
        <pc:spChg chg="del">
          <ac:chgData name="Isabel Rose Gippo" userId="S::irg9370@ads.northwestern.edu::b10bfe7e-55b9-46dd-9add-2eb52cb66d3b" providerId="AD" clId="Web-{6F4BA6F9-4A5A-3B13-85C3-6DB0B61CBC00}" dt="2023-10-24T15:48:08.573" v="1468"/>
          <ac:spMkLst>
            <pc:docMk/>
            <pc:sldMk cId="1407824229" sldId="576"/>
            <ac:spMk id="10" creationId="{25AE8A2F-EC9C-3068-BE56-5960B5C6DCA1}"/>
          </ac:spMkLst>
        </pc:spChg>
        <pc:spChg chg="del">
          <ac:chgData name="Isabel Rose Gippo" userId="S::irg9370@ads.northwestern.edu::b10bfe7e-55b9-46dd-9add-2eb52cb66d3b" providerId="AD" clId="Web-{6F4BA6F9-4A5A-3B13-85C3-6DB0B61CBC00}" dt="2023-10-24T15:48:06.448" v="1467"/>
          <ac:spMkLst>
            <pc:docMk/>
            <pc:sldMk cId="1407824229" sldId="576"/>
            <ac:spMk id="11" creationId="{F406DC6F-8C94-AF9D-26F8-B81A3F9E5004}"/>
          </ac:spMkLst>
        </pc:spChg>
        <pc:spChg chg="del">
          <ac:chgData name="Isabel Rose Gippo" userId="S::irg9370@ads.northwestern.edu::b10bfe7e-55b9-46dd-9add-2eb52cb66d3b" providerId="AD" clId="Web-{6F4BA6F9-4A5A-3B13-85C3-6DB0B61CBC00}" dt="2023-10-24T15:48:04.542" v="1466"/>
          <ac:spMkLst>
            <pc:docMk/>
            <pc:sldMk cId="1407824229" sldId="576"/>
            <ac:spMk id="12" creationId="{913F4C80-BE39-2B7C-C4A4-98B839B10F3C}"/>
          </ac:spMkLst>
        </pc:spChg>
        <pc:spChg chg="del">
          <ac:chgData name="Isabel Rose Gippo" userId="S::irg9370@ads.northwestern.edu::b10bfe7e-55b9-46dd-9add-2eb52cb66d3b" providerId="AD" clId="Web-{6F4BA6F9-4A5A-3B13-85C3-6DB0B61CBC00}" dt="2023-10-24T15:48:02.495" v="1465"/>
          <ac:spMkLst>
            <pc:docMk/>
            <pc:sldMk cId="1407824229" sldId="576"/>
            <ac:spMk id="13" creationId="{CA29CC08-AC6C-D03F-4212-3671B5C0255E}"/>
          </ac:spMkLst>
        </pc:spChg>
        <pc:spChg chg="del">
          <ac:chgData name="Isabel Rose Gippo" userId="S::irg9370@ads.northwestern.edu::b10bfe7e-55b9-46dd-9add-2eb52cb66d3b" providerId="AD" clId="Web-{6F4BA6F9-4A5A-3B13-85C3-6DB0B61CBC00}" dt="2023-10-24T15:48:00.666" v="1464"/>
          <ac:spMkLst>
            <pc:docMk/>
            <pc:sldMk cId="1407824229" sldId="576"/>
            <ac:spMk id="14" creationId="{56D7802A-D9E3-5022-FEB1-A5E340BE8541}"/>
          </ac:spMkLst>
        </pc:spChg>
        <pc:spChg chg="del mod">
          <ac:chgData name="Isabel Rose Gippo" userId="S::irg9370@ads.northwestern.edu::b10bfe7e-55b9-46dd-9add-2eb52cb66d3b" providerId="AD" clId="Web-{6F4BA6F9-4A5A-3B13-85C3-6DB0B61CBC00}" dt="2023-10-24T15:47:58.760" v="1463"/>
          <ac:spMkLst>
            <pc:docMk/>
            <pc:sldMk cId="1407824229" sldId="576"/>
            <ac:spMk id="15" creationId="{33C1CB15-DF62-AAD5-40DF-C348B0B14C79}"/>
          </ac:spMkLst>
        </pc:spChg>
        <pc:spChg chg="del">
          <ac:chgData name="Isabel Rose Gippo" userId="S::irg9370@ads.northwestern.edu::b10bfe7e-55b9-46dd-9add-2eb52cb66d3b" providerId="AD" clId="Web-{6F4BA6F9-4A5A-3B13-85C3-6DB0B61CBC00}" dt="2023-10-24T15:45:15.912" v="1419"/>
          <ac:spMkLst>
            <pc:docMk/>
            <pc:sldMk cId="1407824229" sldId="576"/>
            <ac:spMk id="17" creationId="{F322531C-B747-9294-091C-9F40532B993A}"/>
          </ac:spMkLst>
        </pc:spChg>
        <pc:spChg chg="del mod">
          <ac:chgData name="Isabel Rose Gippo" userId="S::irg9370@ads.northwestern.edu::b10bfe7e-55b9-46dd-9add-2eb52cb66d3b" providerId="AD" clId="Web-{6F4BA6F9-4A5A-3B13-85C3-6DB0B61CBC00}" dt="2023-10-24T15:41:24.282" v="1336"/>
          <ac:spMkLst>
            <pc:docMk/>
            <pc:sldMk cId="1407824229" sldId="576"/>
            <ac:spMk id="19" creationId="{F49C1F1A-614A-5749-1A3F-78980B65ADBC}"/>
          </ac:spMkLst>
        </pc:spChg>
        <pc:spChg chg="del">
          <ac:chgData name="Isabel Rose Gippo" userId="S::irg9370@ads.northwestern.edu::b10bfe7e-55b9-46dd-9add-2eb52cb66d3b" providerId="AD" clId="Web-{6F4BA6F9-4A5A-3B13-85C3-6DB0B61CBC00}" dt="2023-10-24T15:47:55.823" v="1461"/>
          <ac:spMkLst>
            <pc:docMk/>
            <pc:sldMk cId="1407824229" sldId="576"/>
            <ac:spMk id="21" creationId="{16124592-48C8-CBB5-0C67-F7EC7BD3F818}"/>
          </ac:spMkLst>
        </pc:spChg>
        <pc:spChg chg="del">
          <ac:chgData name="Isabel Rose Gippo" userId="S::irg9370@ads.northwestern.edu::b10bfe7e-55b9-46dd-9add-2eb52cb66d3b" providerId="AD" clId="Web-{6F4BA6F9-4A5A-3B13-85C3-6DB0B61CBC00}" dt="2023-10-24T15:45:14.084" v="1418"/>
          <ac:spMkLst>
            <pc:docMk/>
            <pc:sldMk cId="1407824229" sldId="576"/>
            <ac:spMk id="23" creationId="{242E4660-E8A4-DB53-3AE0-E98317C0C8D3}"/>
          </ac:spMkLst>
        </pc:spChg>
        <pc:spChg chg="add mod">
          <ac:chgData name="Isabel Rose Gippo" userId="S::irg9370@ads.northwestern.edu::b10bfe7e-55b9-46dd-9add-2eb52cb66d3b" providerId="AD" clId="Web-{6F4BA6F9-4A5A-3B13-85C3-6DB0B61CBC00}" dt="2023-10-24T15:53:56.660" v="1669" actId="1076"/>
          <ac:spMkLst>
            <pc:docMk/>
            <pc:sldMk cId="1407824229" sldId="576"/>
            <ac:spMk id="26" creationId="{4E5DC01A-FD86-C088-08A9-75E4492040D0}"/>
          </ac:spMkLst>
        </pc:spChg>
        <pc:spChg chg="add del mod">
          <ac:chgData name="Isabel Rose Gippo" userId="S::irg9370@ads.northwestern.edu::b10bfe7e-55b9-46dd-9add-2eb52cb66d3b" providerId="AD" clId="Web-{6F4BA6F9-4A5A-3B13-85C3-6DB0B61CBC00}" dt="2023-10-24T15:51:55.454" v="1617"/>
          <ac:spMkLst>
            <pc:docMk/>
            <pc:sldMk cId="1407824229" sldId="576"/>
            <ac:spMk id="28" creationId="{0634AC62-B461-C579-C1E0-59D9F4B72983}"/>
          </ac:spMkLst>
        </pc:spChg>
        <pc:spChg chg="add mod">
          <ac:chgData name="Isabel Rose Gippo" userId="S::irg9370@ads.northwestern.edu::b10bfe7e-55b9-46dd-9add-2eb52cb66d3b" providerId="AD" clId="Web-{6F4BA6F9-4A5A-3B13-85C3-6DB0B61CBC00}" dt="2023-10-24T15:54:00.082" v="1670" actId="1076"/>
          <ac:spMkLst>
            <pc:docMk/>
            <pc:sldMk cId="1407824229" sldId="576"/>
            <ac:spMk id="29" creationId="{74107DB5-E209-4AEF-9800-3DE57E4F629D}"/>
          </ac:spMkLst>
        </pc:spChg>
        <pc:spChg chg="mod">
          <ac:chgData name="Isabel Rose Gippo" userId="S::irg9370@ads.northwestern.edu::b10bfe7e-55b9-46dd-9add-2eb52cb66d3b" providerId="AD" clId="Web-{6F4BA6F9-4A5A-3B13-85C3-6DB0B61CBC00}" dt="2023-10-24T15:44:47.005" v="1398" actId="20577"/>
          <ac:spMkLst>
            <pc:docMk/>
            <pc:sldMk cId="1407824229" sldId="576"/>
            <ac:spMk id="16386" creationId="{00000000-0000-0000-0000-000000000000}"/>
          </ac:spMkLst>
        </pc:spChg>
        <pc:picChg chg="add mod modCrop">
          <ac:chgData name="Isabel Rose Gippo" userId="S::irg9370@ads.northwestern.edu::b10bfe7e-55b9-46dd-9add-2eb52cb66d3b" providerId="AD" clId="Web-{6F4BA6F9-4A5A-3B13-85C3-6DB0B61CBC00}" dt="2023-10-24T15:44:22.270" v="1393" actId="1076"/>
          <ac:picMkLst>
            <pc:docMk/>
            <pc:sldMk cId="1407824229" sldId="576"/>
            <ac:picMk id="2" creationId="{B8AC14FF-4EC0-8575-EDE3-C0FA67908392}"/>
          </ac:picMkLst>
        </pc:picChg>
        <pc:picChg chg="del">
          <ac:chgData name="Isabel Rose Gippo" userId="S::irg9370@ads.northwestern.edu::b10bfe7e-55b9-46dd-9add-2eb52cb66d3b" providerId="AD" clId="Web-{6F4BA6F9-4A5A-3B13-85C3-6DB0B61CBC00}" dt="2023-10-24T15:35:08.131" v="1222"/>
          <ac:picMkLst>
            <pc:docMk/>
            <pc:sldMk cId="1407824229" sldId="576"/>
            <ac:picMk id="8" creationId="{C4A61916-BC63-F6E7-BBA0-F124F7732FEA}"/>
          </ac:picMkLst>
        </pc:picChg>
        <pc:picChg chg="add mod ord">
          <ac:chgData name="Isabel Rose Gippo" userId="S::irg9370@ads.northwestern.edu::b10bfe7e-55b9-46dd-9add-2eb52cb66d3b" providerId="AD" clId="Web-{6F4BA6F9-4A5A-3B13-85C3-6DB0B61CBC00}" dt="2023-10-24T15:44:15.411" v="1391" actId="1076"/>
          <ac:picMkLst>
            <pc:docMk/>
            <pc:sldMk cId="1407824229" sldId="576"/>
            <ac:picMk id="18" creationId="{7B1A0AA1-15B5-44AC-69EE-FA0C3636DDE8}"/>
          </ac:picMkLst>
        </pc:picChg>
        <pc:picChg chg="del">
          <ac:chgData name="Isabel Rose Gippo" userId="S::irg9370@ads.northwestern.edu::b10bfe7e-55b9-46dd-9add-2eb52cb66d3b" providerId="AD" clId="Web-{6F4BA6F9-4A5A-3B13-85C3-6DB0B61CBC00}" dt="2023-10-24T15:45:06.771" v="1415"/>
          <ac:picMkLst>
            <pc:docMk/>
            <pc:sldMk cId="1407824229" sldId="576"/>
            <ac:picMk id="20" creationId="{B6BEFD36-21D1-F003-8218-38BCE13A76CD}"/>
          </ac:picMkLst>
        </pc:picChg>
        <pc:picChg chg="add del mod">
          <ac:chgData name="Isabel Rose Gippo" userId="S::irg9370@ads.northwestern.edu::b10bfe7e-55b9-46dd-9add-2eb52cb66d3b" providerId="AD" clId="Web-{6F4BA6F9-4A5A-3B13-85C3-6DB0B61CBC00}" dt="2023-10-24T15:48:45.918" v="1475"/>
          <ac:picMkLst>
            <pc:docMk/>
            <pc:sldMk cId="1407824229" sldId="576"/>
            <ac:picMk id="22" creationId="{13DD8CE3-1FDC-102F-CBBB-FB401F1872A7}"/>
          </ac:picMkLst>
        </pc:picChg>
        <pc:picChg chg="add mod">
          <ac:chgData name="Isabel Rose Gippo" userId="S::irg9370@ads.northwestern.edu::b10bfe7e-55b9-46dd-9add-2eb52cb66d3b" providerId="AD" clId="Web-{6F4BA6F9-4A5A-3B13-85C3-6DB0B61CBC00}" dt="2023-10-24T15:53:51.160" v="1668" actId="1076"/>
          <ac:picMkLst>
            <pc:docMk/>
            <pc:sldMk cId="1407824229" sldId="576"/>
            <ac:picMk id="24" creationId="{2D6C607A-C2C1-8EE7-6156-28BA1CD6D4EB}"/>
          </ac:picMkLst>
        </pc:picChg>
      </pc:sldChg>
    </pc:docChg>
  </pc:docChgLst>
  <pc:docChgLst>
    <pc:chgData name="Alana Rivera" userId="S::arg3669@ads.northwestern.edu::fc8b707a-b7e9-4f2a-8d71-2d76819b7881" providerId="AD" clId="Web-{64CA3CFC-DFB9-4EB2-185A-94BBCF197F69}"/>
    <pc:docChg chg="addSld modSld sldOrd">
      <pc:chgData name="Alana Rivera" userId="S::arg3669@ads.northwestern.edu::fc8b707a-b7e9-4f2a-8d71-2d76819b7881" providerId="AD" clId="Web-{64CA3CFC-DFB9-4EB2-185A-94BBCF197F69}" dt="2023-10-31T18:53:06.815" v="72"/>
      <pc:docMkLst>
        <pc:docMk/>
      </pc:docMkLst>
      <pc:sldChg chg="ord">
        <pc:chgData name="Alana Rivera" userId="S::arg3669@ads.northwestern.edu::fc8b707a-b7e9-4f2a-8d71-2d76819b7881" providerId="AD" clId="Web-{64CA3CFC-DFB9-4EB2-185A-94BBCF197F69}" dt="2023-10-31T18:53:06.815" v="72"/>
        <pc:sldMkLst>
          <pc:docMk/>
          <pc:sldMk cId="3127921386" sldId="280"/>
        </pc:sldMkLst>
      </pc:sldChg>
      <pc:sldChg chg="modNotes">
        <pc:chgData name="Alana Rivera" userId="S::arg3669@ads.northwestern.edu::fc8b707a-b7e9-4f2a-8d71-2d76819b7881" providerId="AD" clId="Web-{64CA3CFC-DFB9-4EB2-185A-94BBCF197F69}" dt="2023-10-31T18:45:22.517" v="8"/>
        <pc:sldMkLst>
          <pc:docMk/>
          <pc:sldMk cId="3067427377" sldId="560"/>
        </pc:sldMkLst>
      </pc:sldChg>
      <pc:sldChg chg="modSp">
        <pc:chgData name="Alana Rivera" userId="S::arg3669@ads.northwestern.edu::fc8b707a-b7e9-4f2a-8d71-2d76819b7881" providerId="AD" clId="Web-{64CA3CFC-DFB9-4EB2-185A-94BBCF197F69}" dt="2023-10-31T18:43:53.855" v="2"/>
        <pc:sldMkLst>
          <pc:docMk/>
          <pc:sldMk cId="3030449316" sldId="579"/>
        </pc:sldMkLst>
        <pc:spChg chg="mod">
          <ac:chgData name="Alana Rivera" userId="S::arg3669@ads.northwestern.edu::fc8b707a-b7e9-4f2a-8d71-2d76819b7881" providerId="AD" clId="Web-{64CA3CFC-DFB9-4EB2-185A-94BBCF197F69}" dt="2023-10-31T18:43:53.855" v="2"/>
          <ac:spMkLst>
            <pc:docMk/>
            <pc:sldMk cId="3030449316" sldId="579"/>
            <ac:spMk id="44" creationId="{00000000-0000-0000-0000-000000000000}"/>
          </ac:spMkLst>
        </pc:spChg>
        <pc:spChg chg="mod">
          <ac:chgData name="Alana Rivera" userId="S::arg3669@ads.northwestern.edu::fc8b707a-b7e9-4f2a-8d71-2d76819b7881" providerId="AD" clId="Web-{64CA3CFC-DFB9-4EB2-185A-94BBCF197F69}" dt="2023-10-31T18:43:35.901" v="1" actId="1076"/>
          <ac:spMkLst>
            <pc:docMk/>
            <pc:sldMk cId="3030449316" sldId="579"/>
            <ac:spMk id="46" creationId="{00000000-0000-0000-0000-000000000000}"/>
          </ac:spMkLst>
        </pc:spChg>
      </pc:sldChg>
      <pc:sldChg chg="modSp modNotes">
        <pc:chgData name="Alana Rivera" userId="S::arg3669@ads.northwestern.edu::fc8b707a-b7e9-4f2a-8d71-2d76819b7881" providerId="AD" clId="Web-{64CA3CFC-DFB9-4EB2-185A-94BBCF197F69}" dt="2023-10-31T18:44:53.640" v="7"/>
        <pc:sldMkLst>
          <pc:docMk/>
          <pc:sldMk cId="3809547791" sldId="586"/>
        </pc:sldMkLst>
        <pc:spChg chg="mod">
          <ac:chgData name="Alana Rivera" userId="S::arg3669@ads.northwestern.edu::fc8b707a-b7e9-4f2a-8d71-2d76819b7881" providerId="AD" clId="Web-{64CA3CFC-DFB9-4EB2-185A-94BBCF197F69}" dt="2023-10-31T18:44:42.343" v="6" actId="1076"/>
          <ac:spMkLst>
            <pc:docMk/>
            <pc:sldMk cId="3809547791" sldId="586"/>
            <ac:spMk id="39" creationId="{00000000-0000-0000-0000-000000000000}"/>
          </ac:spMkLst>
        </pc:spChg>
        <pc:grpChg chg="mod">
          <ac:chgData name="Alana Rivera" userId="S::arg3669@ads.northwestern.edu::fc8b707a-b7e9-4f2a-8d71-2d76819b7881" providerId="AD" clId="Web-{64CA3CFC-DFB9-4EB2-185A-94BBCF197F69}" dt="2023-10-31T18:44:27.482" v="5" actId="14100"/>
          <ac:grpSpMkLst>
            <pc:docMk/>
            <pc:sldMk cId="3809547791" sldId="586"/>
            <ac:grpSpMk id="20" creationId="{00000000-0000-0000-0000-000000000000}"/>
          </ac:grpSpMkLst>
        </pc:grpChg>
      </pc:sldChg>
      <pc:sldChg chg="modNotes">
        <pc:chgData name="Alana Rivera" userId="S::arg3669@ads.northwestern.edu::fc8b707a-b7e9-4f2a-8d71-2d76819b7881" providerId="AD" clId="Web-{64CA3CFC-DFB9-4EB2-185A-94BBCF197F69}" dt="2023-10-31T18:41:46.987" v="0"/>
        <pc:sldMkLst>
          <pc:docMk/>
          <pc:sldMk cId="629433230" sldId="591"/>
        </pc:sldMkLst>
      </pc:sldChg>
      <pc:sldChg chg="modNotes">
        <pc:chgData name="Alana Rivera" userId="S::arg3669@ads.northwestern.edu::fc8b707a-b7e9-4f2a-8d71-2d76819b7881" providerId="AD" clId="Web-{64CA3CFC-DFB9-4EB2-185A-94BBCF197F69}" dt="2023-10-31T18:46:56.883" v="66"/>
        <pc:sldMkLst>
          <pc:docMk/>
          <pc:sldMk cId="2443892533" sldId="643"/>
        </pc:sldMkLst>
      </pc:sldChg>
      <pc:sldChg chg="ord">
        <pc:chgData name="Alana Rivera" userId="S::arg3669@ads.northwestern.edu::fc8b707a-b7e9-4f2a-8d71-2d76819b7881" providerId="AD" clId="Web-{64CA3CFC-DFB9-4EB2-185A-94BBCF197F69}" dt="2023-10-31T18:52:01.904" v="70"/>
        <pc:sldMkLst>
          <pc:docMk/>
          <pc:sldMk cId="641611787" sldId="648"/>
        </pc:sldMkLst>
      </pc:sldChg>
      <pc:sldChg chg="new ord">
        <pc:chgData name="Alana Rivera" userId="S::arg3669@ads.northwestern.edu::fc8b707a-b7e9-4f2a-8d71-2d76819b7881" providerId="AD" clId="Web-{64CA3CFC-DFB9-4EB2-185A-94BBCF197F69}" dt="2023-10-31T18:49:12.533" v="68"/>
        <pc:sldMkLst>
          <pc:docMk/>
          <pc:sldMk cId="1112761221" sldId="649"/>
        </pc:sldMkLst>
      </pc:sldChg>
    </pc:docChg>
  </pc:docChgLst>
  <pc:docChgLst>
    <pc:chgData name="Eileen Fleming Suse" userId="S::efs3844@ads.northwestern.edu::725c94ef-d051-42d7-9d33-8572765d592b" providerId="AD" clId="Web-{524F6783-CF9C-A7C1-D142-27E8864BC3CB}"/>
    <pc:docChg chg="modSld">
      <pc:chgData name="Eileen Fleming Suse" userId="S::efs3844@ads.northwestern.edu::725c94ef-d051-42d7-9d33-8572765d592b" providerId="AD" clId="Web-{524F6783-CF9C-A7C1-D142-27E8864BC3CB}" dt="2023-10-24T02:49:43.199" v="27" actId="20577"/>
      <pc:docMkLst>
        <pc:docMk/>
      </pc:docMkLst>
      <pc:sldChg chg="modSp">
        <pc:chgData name="Eileen Fleming Suse" userId="S::efs3844@ads.northwestern.edu::725c94ef-d051-42d7-9d33-8572765d592b" providerId="AD" clId="Web-{524F6783-CF9C-A7C1-D142-27E8864BC3CB}" dt="2023-10-24T02:49:43.199" v="27" actId="20577"/>
        <pc:sldMkLst>
          <pc:docMk/>
          <pc:sldMk cId="3845418986" sldId="563"/>
        </pc:sldMkLst>
        <pc:spChg chg="mod">
          <ac:chgData name="Eileen Fleming Suse" userId="S::efs3844@ads.northwestern.edu::725c94ef-d051-42d7-9d33-8572765d592b" providerId="AD" clId="Web-{524F6783-CF9C-A7C1-D142-27E8864BC3CB}" dt="2023-10-24T02:48:50.792" v="5" actId="20577"/>
          <ac:spMkLst>
            <pc:docMk/>
            <pc:sldMk cId="3845418986" sldId="563"/>
            <ac:spMk id="41" creationId="{00000000-0000-0000-0000-000000000000}"/>
          </ac:spMkLst>
        </pc:spChg>
        <pc:spChg chg="mod">
          <ac:chgData name="Eileen Fleming Suse" userId="S::efs3844@ads.northwestern.edu::725c94ef-d051-42d7-9d33-8572765d592b" providerId="AD" clId="Web-{524F6783-CF9C-A7C1-D142-27E8864BC3CB}" dt="2023-10-24T02:49:18.886" v="17" actId="14100"/>
          <ac:spMkLst>
            <pc:docMk/>
            <pc:sldMk cId="3845418986" sldId="563"/>
            <ac:spMk id="43" creationId="{00000000-0000-0000-0000-000000000000}"/>
          </ac:spMkLst>
        </pc:spChg>
        <pc:spChg chg="mod">
          <ac:chgData name="Eileen Fleming Suse" userId="S::efs3844@ads.northwestern.edu::725c94ef-d051-42d7-9d33-8572765d592b" providerId="AD" clId="Web-{524F6783-CF9C-A7C1-D142-27E8864BC3CB}" dt="2023-10-24T02:49:43.199" v="27" actId="20577"/>
          <ac:spMkLst>
            <pc:docMk/>
            <pc:sldMk cId="3845418986" sldId="563"/>
            <ac:spMk id="45" creationId="{00000000-0000-0000-0000-000000000000}"/>
          </ac:spMkLst>
        </pc:spChg>
      </pc:sldChg>
      <pc:sldChg chg="modSp">
        <pc:chgData name="Eileen Fleming Suse" userId="S::efs3844@ads.northwestern.edu::725c94ef-d051-42d7-9d33-8572765d592b" providerId="AD" clId="Web-{524F6783-CF9C-A7C1-D142-27E8864BC3CB}" dt="2023-10-24T02:48:43.932" v="2" actId="1076"/>
        <pc:sldMkLst>
          <pc:docMk/>
          <pc:sldMk cId="3004937174" sldId="565"/>
        </pc:sldMkLst>
        <pc:spChg chg="mod">
          <ac:chgData name="Eileen Fleming Suse" userId="S::efs3844@ads.northwestern.edu::725c94ef-d051-42d7-9d33-8572765d592b" providerId="AD" clId="Web-{524F6783-CF9C-A7C1-D142-27E8864BC3CB}" dt="2023-10-24T02:48:35.166" v="1" actId="1076"/>
          <ac:spMkLst>
            <pc:docMk/>
            <pc:sldMk cId="3004937174" sldId="565"/>
            <ac:spMk id="32" creationId="{00000000-0000-0000-0000-000000000000}"/>
          </ac:spMkLst>
        </pc:spChg>
        <pc:spChg chg="mod">
          <ac:chgData name="Eileen Fleming Suse" userId="S::efs3844@ads.northwestern.edu::725c94ef-d051-42d7-9d33-8572765d592b" providerId="AD" clId="Web-{524F6783-CF9C-A7C1-D142-27E8864BC3CB}" dt="2023-10-24T02:48:43.932" v="2" actId="1076"/>
          <ac:spMkLst>
            <pc:docMk/>
            <pc:sldMk cId="3004937174" sldId="565"/>
            <ac:spMk id="38" creationId="{00000000-0000-0000-0000-000000000000}"/>
          </ac:spMkLst>
        </pc:spChg>
      </pc:sldChg>
    </pc:docChg>
  </pc:docChgLst>
  <pc:docChgLst>
    <pc:chgData name="Alana Rivera" userId="S::arg3669@ads.northwestern.edu::fc8b707a-b7e9-4f2a-8d71-2d76819b7881" providerId="AD" clId="Web-{36AFF060-5319-E6D5-0957-513AFAA6A2E5}"/>
    <pc:docChg chg="mod addSld delSld modSld sldOrd">
      <pc:chgData name="Alana Rivera" userId="S::arg3669@ads.northwestern.edu::fc8b707a-b7e9-4f2a-8d71-2d76819b7881" providerId="AD" clId="Web-{36AFF060-5319-E6D5-0957-513AFAA6A2E5}" dt="2023-10-24T18:55:19.461" v="40"/>
      <pc:docMkLst>
        <pc:docMk/>
      </pc:docMkLst>
      <pc:sldChg chg="ord addCm">
        <pc:chgData name="Alana Rivera" userId="S::arg3669@ads.northwestern.edu::fc8b707a-b7e9-4f2a-8d71-2d76819b7881" providerId="AD" clId="Web-{36AFF060-5319-E6D5-0957-513AFAA6A2E5}" dt="2023-10-24T18:05:32.641" v="17"/>
        <pc:sldMkLst>
          <pc:docMk/>
          <pc:sldMk cId="2564870475" sldId="566"/>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36AFF060-5319-E6D5-0957-513AFAA6A2E5}" dt="2023-10-24T18:05:32.641" v="17"/>
              <pc2:cmMkLst xmlns:pc2="http://schemas.microsoft.com/office/powerpoint/2019/9/main/command">
                <pc:docMk/>
                <pc:sldMk cId="2564870475" sldId="566"/>
                <pc2:cmMk id="{2E54611F-EF9E-406A-A7DB-E8AA469FE59F}"/>
              </pc2:cmMkLst>
            </pc226:cmChg>
          </p:ext>
        </pc:extLst>
      </pc:sldChg>
      <pc:sldChg chg="del">
        <pc:chgData name="Alana Rivera" userId="S::arg3669@ads.northwestern.edu::fc8b707a-b7e9-4f2a-8d71-2d76819b7881" providerId="AD" clId="Web-{36AFF060-5319-E6D5-0957-513AFAA6A2E5}" dt="2023-10-24T18:03:49.482" v="3"/>
        <pc:sldMkLst>
          <pc:docMk/>
          <pc:sldMk cId="310672773" sldId="567"/>
        </pc:sldMkLst>
      </pc:sldChg>
      <pc:sldChg chg="addSp modSp add">
        <pc:chgData name="Alana Rivera" userId="S::arg3669@ads.northwestern.edu::fc8b707a-b7e9-4f2a-8d71-2d76819b7881" providerId="AD" clId="Web-{36AFF060-5319-E6D5-0957-513AFAA6A2E5}" dt="2023-10-24T18:55:19.461" v="40"/>
        <pc:sldMkLst>
          <pc:docMk/>
          <pc:sldMk cId="3419957415" sldId="577"/>
        </pc:sldMkLst>
        <pc:spChg chg="mod">
          <ac:chgData name="Alana Rivera" userId="S::arg3669@ads.northwestern.edu::fc8b707a-b7e9-4f2a-8d71-2d76819b7881" providerId="AD" clId="Web-{36AFF060-5319-E6D5-0957-513AFAA6A2E5}" dt="2023-10-24T18:54:56.960" v="39"/>
          <ac:spMkLst>
            <pc:docMk/>
            <pc:sldMk cId="3419957415" sldId="577"/>
            <ac:spMk id="55" creationId="{00000000-0000-0000-0000-000000000000}"/>
          </ac:spMkLst>
        </pc:spChg>
        <pc:spChg chg="mod">
          <ac:chgData name="Alana Rivera" userId="S::arg3669@ads.northwestern.edu::fc8b707a-b7e9-4f2a-8d71-2d76819b7881" providerId="AD" clId="Web-{36AFF060-5319-E6D5-0957-513AFAA6A2E5}" dt="2023-10-24T18:55:19.461" v="40"/>
          <ac:spMkLst>
            <pc:docMk/>
            <pc:sldMk cId="3419957415" sldId="577"/>
            <ac:spMk id="56" creationId="{00000000-0000-0000-0000-000000000000}"/>
          </ac:spMkLst>
        </pc:spChg>
        <pc:cxnChg chg="add mod">
          <ac:chgData name="Alana Rivera" userId="S::arg3669@ads.northwestern.edu::fc8b707a-b7e9-4f2a-8d71-2d76819b7881" providerId="AD" clId="Web-{36AFF060-5319-E6D5-0957-513AFAA6A2E5}" dt="2023-10-24T18:10:45.023" v="19" actId="14100"/>
          <ac:cxnSpMkLst>
            <pc:docMk/>
            <pc:sldMk cId="3419957415" sldId="577"/>
            <ac:cxnSpMk id="58" creationId="{7FE085C4-0A4D-D525-BEFC-A58C8B262908}"/>
          </ac:cxnSpMkLst>
        </pc:cxnChg>
        <pc:cxnChg chg="add mod">
          <ac:chgData name="Alana Rivera" userId="S::arg3669@ads.northwestern.edu::fc8b707a-b7e9-4f2a-8d71-2d76819b7881" providerId="AD" clId="Web-{36AFF060-5319-E6D5-0957-513AFAA6A2E5}" dt="2023-10-24T18:04:56.671" v="15" actId="1076"/>
          <ac:cxnSpMkLst>
            <pc:docMk/>
            <pc:sldMk cId="3419957415" sldId="577"/>
            <ac:cxnSpMk id="59" creationId="{4AB05664-6AAD-B37F-B42B-F3BE57FF4B64}"/>
          </ac:cxnSpMkLst>
        </pc:cxnChg>
        <pc:cxnChg chg="add mod">
          <ac:chgData name="Alana Rivera" userId="S::arg3669@ads.northwestern.edu::fc8b707a-b7e9-4f2a-8d71-2d76819b7881" providerId="AD" clId="Web-{36AFF060-5319-E6D5-0957-513AFAA6A2E5}" dt="2023-10-24T18:14:32.903" v="33" actId="14100"/>
          <ac:cxnSpMkLst>
            <pc:docMk/>
            <pc:sldMk cId="3419957415" sldId="577"/>
            <ac:cxnSpMk id="60" creationId="{0780975F-40AC-4431-7277-8634D267BA1E}"/>
          </ac:cxnSpMkLst>
        </pc:cxnChg>
        <pc:cxnChg chg="add mod">
          <ac:chgData name="Alana Rivera" userId="S::arg3669@ads.northwestern.edu::fc8b707a-b7e9-4f2a-8d71-2d76819b7881" providerId="AD" clId="Web-{36AFF060-5319-E6D5-0957-513AFAA6A2E5}" dt="2023-10-24T18:11:24.914" v="25" actId="14100"/>
          <ac:cxnSpMkLst>
            <pc:docMk/>
            <pc:sldMk cId="3419957415" sldId="577"/>
            <ac:cxnSpMk id="61" creationId="{E6E294E1-60D1-93D5-F703-4C8CA9125137}"/>
          </ac:cxnSpMkLst>
        </pc:cxnChg>
        <pc:cxnChg chg="add mod">
          <ac:chgData name="Alana Rivera" userId="S::arg3669@ads.northwestern.edu::fc8b707a-b7e9-4f2a-8d71-2d76819b7881" providerId="AD" clId="Web-{36AFF060-5319-E6D5-0957-513AFAA6A2E5}" dt="2023-10-24T18:12:06.525" v="31" actId="14100"/>
          <ac:cxnSpMkLst>
            <pc:docMk/>
            <pc:sldMk cId="3419957415" sldId="577"/>
            <ac:cxnSpMk id="62" creationId="{533F86FB-67E8-46C0-0C13-6B8ABD7D4C87}"/>
          </ac:cxnSpMkLst>
        </pc:cxnChg>
      </pc:sldChg>
    </pc:docChg>
  </pc:docChgLst>
  <pc:docChgLst>
    <pc:chgData name="Isabel Rose Gippo" userId="S::irg9370@ads.northwestern.edu::b10bfe7e-55b9-46dd-9add-2eb52cb66d3b" providerId="AD" clId="Web-{782B053E-75E5-959C-8BAD-C5B3CB312E1F}"/>
    <pc:docChg chg="addSld delSld modSld sldOrd">
      <pc:chgData name="Isabel Rose Gippo" userId="S::irg9370@ads.northwestern.edu::b10bfe7e-55b9-46dd-9add-2eb52cb66d3b" providerId="AD" clId="Web-{782B053E-75E5-959C-8BAD-C5B3CB312E1F}" dt="2023-10-27T17:32:56.380" v="8"/>
      <pc:docMkLst>
        <pc:docMk/>
      </pc:docMkLst>
      <pc:sldChg chg="del">
        <pc:chgData name="Isabel Rose Gippo" userId="S::irg9370@ads.northwestern.edu::b10bfe7e-55b9-46dd-9add-2eb52cb66d3b" providerId="AD" clId="Web-{782B053E-75E5-959C-8BAD-C5B3CB312E1F}" dt="2023-10-27T17:32:56.380" v="8"/>
        <pc:sldMkLst>
          <pc:docMk/>
          <pc:sldMk cId="81318788" sldId="597"/>
        </pc:sldMkLst>
      </pc:sldChg>
      <pc:sldChg chg="new del">
        <pc:chgData name="Isabel Rose Gippo" userId="S::irg9370@ads.northwestern.edu::b10bfe7e-55b9-46dd-9add-2eb52cb66d3b" providerId="AD" clId="Web-{782B053E-75E5-959C-8BAD-C5B3CB312E1F}" dt="2023-10-27T15:59:59.727" v="2"/>
        <pc:sldMkLst>
          <pc:docMk/>
          <pc:sldMk cId="1436311312" sldId="598"/>
        </pc:sldMkLst>
      </pc:sldChg>
      <pc:sldChg chg="del">
        <pc:chgData name="Isabel Rose Gippo" userId="S::irg9370@ads.northwestern.edu::b10bfe7e-55b9-46dd-9add-2eb52cb66d3b" providerId="AD" clId="Web-{782B053E-75E5-959C-8BAD-C5B3CB312E1F}" dt="2023-10-27T15:59:36.867" v="0"/>
        <pc:sldMkLst>
          <pc:docMk/>
          <pc:sldMk cId="1569232529" sldId="598"/>
        </pc:sldMkLst>
      </pc:sldChg>
      <pc:sldChg chg="delSp new del ord">
        <pc:chgData name="Isabel Rose Gippo" userId="S::irg9370@ads.northwestern.edu::b10bfe7e-55b9-46dd-9add-2eb52cb66d3b" providerId="AD" clId="Web-{782B053E-75E5-959C-8BAD-C5B3CB312E1F}" dt="2023-10-27T17:32:45.256" v="7"/>
        <pc:sldMkLst>
          <pc:docMk/>
          <pc:sldMk cId="1930759565" sldId="598"/>
        </pc:sldMkLst>
        <pc:spChg chg="del">
          <ac:chgData name="Isabel Rose Gippo" userId="S::irg9370@ads.northwestern.edu::b10bfe7e-55b9-46dd-9add-2eb52cb66d3b" providerId="AD" clId="Web-{782B053E-75E5-959C-8BAD-C5B3CB312E1F}" dt="2023-10-27T16:00:24.525" v="4"/>
          <ac:spMkLst>
            <pc:docMk/>
            <pc:sldMk cId="1930759565" sldId="598"/>
            <ac:spMk id="2" creationId="{ABF36D30-BDF6-6FEC-3FE6-37A1A717E4A8}"/>
          </ac:spMkLst>
        </pc:spChg>
        <pc:spChg chg="del">
          <ac:chgData name="Isabel Rose Gippo" userId="S::irg9370@ads.northwestern.edu::b10bfe7e-55b9-46dd-9add-2eb52cb66d3b" providerId="AD" clId="Web-{782B053E-75E5-959C-8BAD-C5B3CB312E1F}" dt="2023-10-27T16:00:26.244" v="5"/>
          <ac:spMkLst>
            <pc:docMk/>
            <pc:sldMk cId="1930759565" sldId="598"/>
            <ac:spMk id="3" creationId="{31C83F74-E170-8C1C-B7A5-F83D8496A049}"/>
          </ac:spMkLst>
        </pc:spChg>
      </pc:sldChg>
    </pc:docChg>
  </pc:docChgLst>
  <pc:docChgLst>
    <pc:chgData name="Eileen Fleming Suse" userId="S::efs3844@ads.northwestern.edu::725c94ef-d051-42d7-9d33-8572765d592b" providerId="AD" clId="Web-{11980D98-74D1-71E7-E86A-19E64303BD27}"/>
    <pc:docChg chg="modSld sldOrd">
      <pc:chgData name="Eileen Fleming Suse" userId="S::efs3844@ads.northwestern.edu::725c94ef-d051-42d7-9d33-8572765d592b" providerId="AD" clId="Web-{11980D98-74D1-71E7-E86A-19E64303BD27}" dt="2023-10-30T16:12:53.918" v="90" actId="1076"/>
      <pc:docMkLst>
        <pc:docMk/>
      </pc:docMkLst>
      <pc:sldChg chg="delSp modSp">
        <pc:chgData name="Eileen Fleming Suse" userId="S::efs3844@ads.northwestern.edu::725c94ef-d051-42d7-9d33-8572765d592b" providerId="AD" clId="Web-{11980D98-74D1-71E7-E86A-19E64303BD27}" dt="2023-10-30T15:54:09.163" v="65" actId="1076"/>
        <pc:sldMkLst>
          <pc:docMk/>
          <pc:sldMk cId="3472964082" sldId="550"/>
        </pc:sldMkLst>
        <pc:spChg chg="mod">
          <ac:chgData name="Eileen Fleming Suse" userId="S::efs3844@ads.northwestern.edu::725c94ef-d051-42d7-9d33-8572765d592b" providerId="AD" clId="Web-{11980D98-74D1-71E7-E86A-19E64303BD27}" dt="2023-10-30T15:52:44.895" v="41" actId="20577"/>
          <ac:spMkLst>
            <pc:docMk/>
            <pc:sldMk cId="3472964082" sldId="550"/>
            <ac:spMk id="20" creationId="{00000000-0000-0000-0000-000000000000}"/>
          </ac:spMkLst>
        </pc:spChg>
        <pc:spChg chg="mod">
          <ac:chgData name="Eileen Fleming Suse" userId="S::efs3844@ads.northwestern.edu::725c94ef-d051-42d7-9d33-8572765d592b" providerId="AD" clId="Web-{11980D98-74D1-71E7-E86A-19E64303BD27}" dt="2023-10-30T15:54:09.163" v="65" actId="1076"/>
          <ac:spMkLst>
            <pc:docMk/>
            <pc:sldMk cId="3472964082" sldId="550"/>
            <ac:spMk id="23" creationId="{00000000-0000-0000-0000-000000000000}"/>
          </ac:spMkLst>
        </pc:spChg>
        <pc:spChg chg="mod">
          <ac:chgData name="Eileen Fleming Suse" userId="S::efs3844@ads.northwestern.edu::725c94ef-d051-42d7-9d33-8572765d592b" providerId="AD" clId="Web-{11980D98-74D1-71E7-E86A-19E64303BD27}" dt="2023-10-30T15:53:06.724" v="46"/>
          <ac:spMkLst>
            <pc:docMk/>
            <pc:sldMk cId="3472964082" sldId="550"/>
            <ac:spMk id="31" creationId="{00000000-0000-0000-0000-000000000000}"/>
          </ac:spMkLst>
        </pc:spChg>
        <pc:spChg chg="del">
          <ac:chgData name="Eileen Fleming Suse" userId="S::efs3844@ads.northwestern.edu::725c94ef-d051-42d7-9d33-8572765d592b" providerId="AD" clId="Web-{11980D98-74D1-71E7-E86A-19E64303BD27}" dt="2023-10-30T15:50:43.361" v="19"/>
          <ac:spMkLst>
            <pc:docMk/>
            <pc:sldMk cId="3472964082" sldId="550"/>
            <ac:spMk id="32" creationId="{00000000-0000-0000-0000-000000000000}"/>
          </ac:spMkLst>
        </pc:spChg>
        <pc:spChg chg="mod">
          <ac:chgData name="Eileen Fleming Suse" userId="S::efs3844@ads.northwestern.edu::725c94ef-d051-42d7-9d33-8572765d592b" providerId="AD" clId="Web-{11980D98-74D1-71E7-E86A-19E64303BD27}" dt="2023-10-30T15:53:06.084" v="42" actId="1076"/>
          <ac:spMkLst>
            <pc:docMk/>
            <pc:sldMk cId="3472964082" sldId="550"/>
            <ac:spMk id="51" creationId="{00000000-0000-0000-0000-000000000000}"/>
          </ac:spMkLst>
        </pc:spChg>
        <pc:spChg chg="mod">
          <ac:chgData name="Eileen Fleming Suse" userId="S::efs3844@ads.northwestern.edu::725c94ef-d051-42d7-9d33-8572765d592b" providerId="AD" clId="Web-{11980D98-74D1-71E7-E86A-19E64303BD27}" dt="2023-10-30T15:54:07.460" v="64" actId="1076"/>
          <ac:spMkLst>
            <pc:docMk/>
            <pc:sldMk cId="3472964082" sldId="550"/>
            <ac:spMk id="53" creationId="{00000000-0000-0000-0000-000000000000}"/>
          </ac:spMkLst>
        </pc:spChg>
        <pc:grpChg chg="mod">
          <ac:chgData name="Eileen Fleming Suse" userId="S::efs3844@ads.northwestern.edu::725c94ef-d051-42d7-9d33-8572765d592b" providerId="AD" clId="Web-{11980D98-74D1-71E7-E86A-19E64303BD27}" dt="2023-10-30T15:53:09.115" v="47" actId="1076"/>
          <ac:grpSpMkLst>
            <pc:docMk/>
            <pc:sldMk cId="3472964082" sldId="550"/>
            <ac:grpSpMk id="55" creationId="{00000000-0000-0000-0000-000000000000}"/>
          </ac:grpSpMkLst>
        </pc:grpChg>
      </pc:sldChg>
      <pc:sldChg chg="modSp ord">
        <pc:chgData name="Eileen Fleming Suse" userId="S::efs3844@ads.northwestern.edu::725c94ef-d051-42d7-9d33-8572765d592b" providerId="AD" clId="Web-{11980D98-74D1-71E7-E86A-19E64303BD27}" dt="2023-10-30T15:55:23.587" v="88" actId="14100"/>
        <pc:sldMkLst>
          <pc:docMk/>
          <pc:sldMk cId="2562283095" sldId="551"/>
        </pc:sldMkLst>
        <pc:spChg chg="mod">
          <ac:chgData name="Eileen Fleming Suse" userId="S::efs3844@ads.northwestern.edu::725c94ef-d051-42d7-9d33-8572765d592b" providerId="AD" clId="Web-{11980D98-74D1-71E7-E86A-19E64303BD27}" dt="2023-10-30T15:54:18.289" v="66" actId="20577"/>
          <ac:spMkLst>
            <pc:docMk/>
            <pc:sldMk cId="2562283095" sldId="551"/>
            <ac:spMk id="20" creationId="{00000000-0000-0000-0000-000000000000}"/>
          </ac:spMkLst>
        </pc:spChg>
        <pc:spChg chg="mod">
          <ac:chgData name="Eileen Fleming Suse" userId="S::efs3844@ads.northwestern.edu::725c94ef-d051-42d7-9d33-8572765d592b" providerId="AD" clId="Web-{11980D98-74D1-71E7-E86A-19E64303BD27}" dt="2023-10-30T15:54:40.430" v="72" actId="20577"/>
          <ac:spMkLst>
            <pc:docMk/>
            <pc:sldMk cId="2562283095" sldId="551"/>
            <ac:spMk id="23" creationId="{00000000-0000-0000-0000-000000000000}"/>
          </ac:spMkLst>
        </pc:spChg>
        <pc:spChg chg="mod">
          <ac:chgData name="Eileen Fleming Suse" userId="S::efs3844@ads.northwestern.edu::725c94ef-d051-42d7-9d33-8572765d592b" providerId="AD" clId="Web-{11980D98-74D1-71E7-E86A-19E64303BD27}" dt="2023-10-30T15:55:23.587" v="88" actId="14100"/>
          <ac:spMkLst>
            <pc:docMk/>
            <pc:sldMk cId="2562283095" sldId="551"/>
            <ac:spMk id="31" creationId="{00000000-0000-0000-0000-000000000000}"/>
          </ac:spMkLst>
        </pc:spChg>
        <pc:spChg chg="mod">
          <ac:chgData name="Eileen Fleming Suse" userId="S::efs3844@ads.northwestern.edu::725c94ef-d051-42d7-9d33-8572765d592b" providerId="AD" clId="Web-{11980D98-74D1-71E7-E86A-19E64303BD27}" dt="2023-10-30T15:54:28.242" v="69" actId="1076"/>
          <ac:spMkLst>
            <pc:docMk/>
            <pc:sldMk cId="2562283095" sldId="551"/>
            <ac:spMk id="51" creationId="{00000000-0000-0000-0000-000000000000}"/>
          </ac:spMkLst>
        </pc:spChg>
        <pc:spChg chg="mod">
          <ac:chgData name="Eileen Fleming Suse" userId="S::efs3844@ads.northwestern.edu::725c94ef-d051-42d7-9d33-8572765d592b" providerId="AD" clId="Web-{11980D98-74D1-71E7-E86A-19E64303BD27}" dt="2023-10-30T15:55:07.384" v="82"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11980D98-74D1-71E7-E86A-19E64303BD27}" dt="2023-10-30T16:12:53.918" v="90" actId="1076"/>
        <pc:sldMkLst>
          <pc:docMk/>
          <pc:sldMk cId="1141815353" sldId="562"/>
        </pc:sldMkLst>
        <pc:spChg chg="mod">
          <ac:chgData name="Eileen Fleming Suse" userId="S::efs3844@ads.northwestern.edu::725c94ef-d051-42d7-9d33-8572765d592b" providerId="AD" clId="Web-{11980D98-74D1-71E7-E86A-19E64303BD27}" dt="2023-10-30T16:12:53.918" v="90" actId="1076"/>
          <ac:spMkLst>
            <pc:docMk/>
            <pc:sldMk cId="1141815353" sldId="562"/>
            <ac:spMk id="13" creationId="{2FC08365-C48A-7DB8-BBA6-D9EB552FFD55}"/>
          </ac:spMkLst>
        </pc:spChg>
        <pc:graphicFrameChg chg="mod">
          <ac:chgData name="Eileen Fleming Suse" userId="S::efs3844@ads.northwestern.edu::725c94ef-d051-42d7-9d33-8572765d592b" providerId="AD" clId="Web-{11980D98-74D1-71E7-E86A-19E64303BD27}" dt="2023-10-30T16:12:27.854" v="89" actId="1076"/>
          <ac:graphicFrameMkLst>
            <pc:docMk/>
            <pc:sldMk cId="1141815353" sldId="562"/>
            <ac:graphicFrameMk id="137" creationId="{61D68665-D38F-2DB1-AAFC-535C715B7F9F}"/>
          </ac:graphicFrameMkLst>
        </pc:graphicFrameChg>
      </pc:sldChg>
    </pc:docChg>
  </pc:docChgLst>
  <pc:docChgLst>
    <pc:chgData name="Eileen Fleming Suse" userId="S::efs3844@ads.northwestern.edu::725c94ef-d051-42d7-9d33-8572765d592b" providerId="AD" clId="Web-{C93D31B3-2B8C-DAAF-7090-3A2197BCB065}"/>
    <pc:docChg chg="addSld delSld modSld sldOrd">
      <pc:chgData name="Eileen Fleming Suse" userId="S::efs3844@ads.northwestern.edu::725c94ef-d051-42d7-9d33-8572765d592b" providerId="AD" clId="Web-{C93D31B3-2B8C-DAAF-7090-3A2197BCB065}" dt="2023-10-27T21:32:15.542" v="226"/>
      <pc:docMkLst>
        <pc:docMk/>
      </pc:docMkLst>
      <pc:sldChg chg="delCm">
        <pc:chgData name="Eileen Fleming Suse" userId="S::efs3844@ads.northwestern.edu::725c94ef-d051-42d7-9d33-8572765d592b" providerId="AD" clId="Web-{C93D31B3-2B8C-DAAF-7090-3A2197BCB065}" dt="2023-10-27T20:38:25.630" v="101"/>
        <pc:sldMkLst>
          <pc:docMk/>
          <pc:sldMk cId="2351229145" sldId="54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0:38:25.630" v="101"/>
              <pc2:cmMkLst xmlns:pc2="http://schemas.microsoft.com/office/powerpoint/2019/9/main/command">
                <pc:docMk/>
                <pc:sldMk cId="2351229145" sldId="544"/>
                <pc2:cmMk id="{94040B62-D001-43B9-8FD0-0A8B0C9B684C}"/>
              </pc2:cmMkLst>
            </pc226:cmChg>
          </p:ext>
        </pc:extLst>
      </pc:sldChg>
      <pc:sldChg chg="modSp">
        <pc:chgData name="Eileen Fleming Suse" userId="S::efs3844@ads.northwestern.edu::725c94ef-d051-42d7-9d33-8572765d592b" providerId="AD" clId="Web-{C93D31B3-2B8C-DAAF-7090-3A2197BCB065}" dt="2023-10-27T20:37:55.739" v="100" actId="20577"/>
        <pc:sldMkLst>
          <pc:docMk/>
          <pc:sldMk cId="1141815353" sldId="562"/>
        </pc:sldMkLst>
        <pc:spChg chg="mod">
          <ac:chgData name="Eileen Fleming Suse" userId="S::efs3844@ads.northwestern.edu::725c94ef-d051-42d7-9d33-8572765d592b" providerId="AD" clId="Web-{C93D31B3-2B8C-DAAF-7090-3A2197BCB065}" dt="2023-10-27T20:37:55.739" v="100" actId="20577"/>
          <ac:spMkLst>
            <pc:docMk/>
            <pc:sldMk cId="1141815353" sldId="562"/>
            <ac:spMk id="2" creationId="{05579FEB-3306-A04E-6516-F16994F3B0F9}"/>
          </ac:spMkLst>
        </pc:spChg>
        <pc:spChg chg="mod">
          <ac:chgData name="Eileen Fleming Suse" userId="S::efs3844@ads.northwestern.edu::725c94ef-d051-42d7-9d33-8572765d592b" providerId="AD" clId="Web-{C93D31B3-2B8C-DAAF-7090-3A2197BCB065}" dt="2023-10-27T20:37:49.195" v="99"/>
          <ac:spMkLst>
            <pc:docMk/>
            <pc:sldMk cId="1141815353" sldId="562"/>
            <ac:spMk id="360" creationId="{FE59A3A2-BFF2-9772-51D6-9CCB620AEB53}"/>
          </ac:spMkLst>
        </pc:spChg>
        <pc:graphicFrameChg chg="modGraphic">
          <ac:chgData name="Eileen Fleming Suse" userId="S::efs3844@ads.northwestern.edu::725c94ef-d051-42d7-9d33-8572765d592b" providerId="AD" clId="Web-{C93D31B3-2B8C-DAAF-7090-3A2197BCB065}" dt="2023-10-27T20:37:40.614" v="96" actId="20577"/>
          <ac:graphicFrameMkLst>
            <pc:docMk/>
            <pc:sldMk cId="1141815353" sldId="562"/>
            <ac:graphicFrameMk id="137" creationId="{61D68665-D38F-2DB1-AAFC-535C715B7F9F}"/>
          </ac:graphicFrameMkLst>
        </pc:graphicFrameChg>
      </pc:sldChg>
      <pc:sldChg chg="addAnim">
        <pc:chgData name="Eileen Fleming Suse" userId="S::efs3844@ads.northwestern.edu::725c94ef-d051-42d7-9d33-8572765d592b" providerId="AD" clId="Web-{C93D31B3-2B8C-DAAF-7090-3A2197BCB065}" dt="2023-10-27T20:34:45.141" v="77"/>
        <pc:sldMkLst>
          <pc:docMk/>
          <pc:sldMk cId="3845418986" sldId="563"/>
        </pc:sldMkLst>
      </pc:sldChg>
      <pc:sldChg chg="addAnim delAnim modAnim">
        <pc:chgData name="Eileen Fleming Suse" userId="S::efs3844@ads.northwestern.edu::725c94ef-d051-42d7-9d33-8572765d592b" providerId="AD" clId="Web-{C93D31B3-2B8C-DAAF-7090-3A2197BCB065}" dt="2023-10-27T20:34:35.282" v="76"/>
        <pc:sldMkLst>
          <pc:docMk/>
          <pc:sldMk cId="1536434647" sldId="564"/>
        </pc:sldMkLst>
      </pc:sldChg>
      <pc:sldChg chg="delSp">
        <pc:chgData name="Eileen Fleming Suse" userId="S::efs3844@ads.northwestern.edu::725c94ef-d051-42d7-9d33-8572765d592b" providerId="AD" clId="Web-{C93D31B3-2B8C-DAAF-7090-3A2197BCB065}" dt="2023-10-27T20:25:58.630" v="11"/>
        <pc:sldMkLst>
          <pc:docMk/>
          <pc:sldMk cId="3870927286" sldId="583"/>
        </pc:sldMkLst>
        <pc:spChg chg="del">
          <ac:chgData name="Eileen Fleming Suse" userId="S::efs3844@ads.northwestern.edu::725c94ef-d051-42d7-9d33-8572765d592b" providerId="AD" clId="Web-{C93D31B3-2B8C-DAAF-7090-3A2197BCB065}" dt="2023-10-27T20:25:58.630" v="8"/>
          <ac:spMkLst>
            <pc:docMk/>
            <pc:sldMk cId="3870927286" sldId="583"/>
            <ac:spMk id="48" creationId="{00000000-0000-0000-0000-000000000000}"/>
          </ac:spMkLst>
        </pc:spChg>
        <pc:spChg chg="del">
          <ac:chgData name="Eileen Fleming Suse" userId="S::efs3844@ads.northwestern.edu::725c94ef-d051-42d7-9d33-8572765d592b" providerId="AD" clId="Web-{C93D31B3-2B8C-DAAF-7090-3A2197BCB065}" dt="2023-10-27T20:25:58.630" v="7"/>
          <ac:spMkLst>
            <pc:docMk/>
            <pc:sldMk cId="3870927286" sldId="583"/>
            <ac:spMk id="49" creationId="{00000000-0000-0000-0000-000000000000}"/>
          </ac:spMkLst>
        </pc:spChg>
        <pc:spChg chg="del">
          <ac:chgData name="Eileen Fleming Suse" userId="S::efs3844@ads.northwestern.edu::725c94ef-d051-42d7-9d33-8572765d592b" providerId="AD" clId="Web-{C93D31B3-2B8C-DAAF-7090-3A2197BCB065}" dt="2023-10-27T20:25:58.630" v="6"/>
          <ac:spMkLst>
            <pc:docMk/>
            <pc:sldMk cId="3870927286" sldId="583"/>
            <ac:spMk id="50" creationId="{00000000-0000-0000-0000-000000000000}"/>
          </ac:spMkLst>
        </pc:spChg>
        <pc:grpChg chg="del">
          <ac:chgData name="Eileen Fleming Suse" userId="S::efs3844@ads.northwestern.edu::725c94ef-d051-42d7-9d33-8572765d592b" providerId="AD" clId="Web-{C93D31B3-2B8C-DAAF-7090-3A2197BCB065}" dt="2023-10-27T20:25:58.630" v="11"/>
          <ac:grpSpMkLst>
            <pc:docMk/>
            <pc:sldMk cId="3870927286" sldId="583"/>
            <ac:grpSpMk id="18" creationId="{00000000-0000-0000-0000-000000000000}"/>
          </ac:grpSpMkLst>
        </pc:grpChg>
        <pc:grpChg chg="del">
          <ac:chgData name="Eileen Fleming Suse" userId="S::efs3844@ads.northwestern.edu::725c94ef-d051-42d7-9d33-8572765d592b" providerId="AD" clId="Web-{C93D31B3-2B8C-DAAF-7090-3A2197BCB065}" dt="2023-10-27T20:25:58.630" v="10"/>
          <ac:grpSpMkLst>
            <pc:docMk/>
            <pc:sldMk cId="3870927286" sldId="583"/>
            <ac:grpSpMk id="42" creationId="{00000000-0000-0000-0000-000000000000}"/>
          </ac:grpSpMkLst>
        </pc:grpChg>
        <pc:grpChg chg="del">
          <ac:chgData name="Eileen Fleming Suse" userId="S::efs3844@ads.northwestern.edu::725c94ef-d051-42d7-9d33-8572765d592b" providerId="AD" clId="Web-{C93D31B3-2B8C-DAAF-7090-3A2197BCB065}" dt="2023-10-27T20:25:58.630" v="9"/>
          <ac:grpSpMkLst>
            <pc:docMk/>
            <pc:sldMk cId="3870927286" sldId="583"/>
            <ac:grpSpMk id="45" creationId="{00000000-0000-0000-0000-000000000000}"/>
          </ac:grpSpMkLst>
        </pc:grpChg>
      </pc:sldChg>
      <pc:sldChg chg="addAnim">
        <pc:chgData name="Eileen Fleming Suse" userId="S::efs3844@ads.northwestern.edu::725c94ef-d051-42d7-9d33-8572765d592b" providerId="AD" clId="Web-{C93D31B3-2B8C-DAAF-7090-3A2197BCB065}" dt="2023-10-27T20:36:02.424" v="82"/>
        <pc:sldMkLst>
          <pc:docMk/>
          <pc:sldMk cId="3561966490" sldId="585"/>
        </pc:sldMkLst>
      </pc:sldChg>
      <pc:sldChg chg="addAnim">
        <pc:chgData name="Eileen Fleming Suse" userId="S::efs3844@ads.northwestern.edu::725c94ef-d051-42d7-9d33-8572765d592b" providerId="AD" clId="Web-{C93D31B3-2B8C-DAAF-7090-3A2197BCB065}" dt="2023-10-27T20:35:43.361" v="81"/>
        <pc:sldMkLst>
          <pc:docMk/>
          <pc:sldMk cId="3809547791" sldId="586"/>
        </pc:sldMkLst>
      </pc:sldChg>
      <pc:sldChg chg="addAnim">
        <pc:chgData name="Eileen Fleming Suse" userId="S::efs3844@ads.northwestern.edu::725c94ef-d051-42d7-9d33-8572765d592b" providerId="AD" clId="Web-{C93D31B3-2B8C-DAAF-7090-3A2197BCB065}" dt="2023-10-27T20:35:34.392" v="80"/>
        <pc:sldMkLst>
          <pc:docMk/>
          <pc:sldMk cId="1598854783" sldId="587"/>
        </pc:sldMkLst>
      </pc:sldChg>
      <pc:sldChg chg="addAnim">
        <pc:chgData name="Eileen Fleming Suse" userId="S::efs3844@ads.northwestern.edu::725c94ef-d051-42d7-9d33-8572765d592b" providerId="AD" clId="Web-{C93D31B3-2B8C-DAAF-7090-3A2197BCB065}" dt="2023-10-27T20:35:16.720" v="79"/>
        <pc:sldMkLst>
          <pc:docMk/>
          <pc:sldMk cId="3832963388" sldId="588"/>
        </pc:sldMkLst>
      </pc:sldChg>
      <pc:sldChg chg="addAnim">
        <pc:chgData name="Eileen Fleming Suse" userId="S::efs3844@ads.northwestern.edu::725c94ef-d051-42d7-9d33-8572765d592b" providerId="AD" clId="Web-{C93D31B3-2B8C-DAAF-7090-3A2197BCB065}" dt="2023-10-27T20:35:00.423" v="78"/>
        <pc:sldMkLst>
          <pc:docMk/>
          <pc:sldMk cId="629433230" sldId="591"/>
        </pc:sldMkLst>
      </pc:sldChg>
      <pc:sldChg chg="modNotes">
        <pc:chgData name="Eileen Fleming Suse" userId="S::efs3844@ads.northwestern.edu::725c94ef-d051-42d7-9d33-8572765d592b" providerId="AD" clId="Web-{C93D31B3-2B8C-DAAF-7090-3A2197BCB065}" dt="2023-10-27T20:51:02.849" v="104"/>
        <pc:sldMkLst>
          <pc:docMk/>
          <pc:sldMk cId="2470795492" sldId="599"/>
        </pc:sldMkLst>
      </pc:sldChg>
      <pc:sldChg chg="addSp delSp modSp modCm">
        <pc:chgData name="Eileen Fleming Suse" userId="S::efs3844@ads.northwestern.edu::725c94ef-d051-42d7-9d33-8572765d592b" providerId="AD" clId="Web-{C93D31B3-2B8C-DAAF-7090-3A2197BCB065}" dt="2023-10-27T21:31:50.088" v="225"/>
        <pc:sldMkLst>
          <pc:docMk/>
          <pc:sldMk cId="3355787309" sldId="604"/>
        </pc:sldMkLst>
        <pc:spChg chg="mod">
          <ac:chgData name="Eileen Fleming Suse" userId="S::efs3844@ads.northwestern.edu::725c94ef-d051-42d7-9d33-8572765d592b" providerId="AD" clId="Web-{C93D31B3-2B8C-DAAF-7090-3A2197BCB065}" dt="2023-10-27T21:31:34.291" v="220" actId="1076"/>
          <ac:spMkLst>
            <pc:docMk/>
            <pc:sldMk cId="3355787309" sldId="604"/>
            <ac:spMk id="2" creationId="{3D3DB2FD-422B-6FE2-6A77-68A0BED56A59}"/>
          </ac:spMkLst>
        </pc:spChg>
        <pc:spChg chg="del mod">
          <ac:chgData name="Eileen Fleming Suse" userId="S::efs3844@ads.northwestern.edu::725c94ef-d051-42d7-9d33-8572765d592b" providerId="AD" clId="Web-{C93D31B3-2B8C-DAAF-7090-3A2197BCB065}" dt="2023-10-27T21:02:41.005" v="106"/>
          <ac:spMkLst>
            <pc:docMk/>
            <pc:sldMk cId="3355787309" sldId="604"/>
            <ac:spMk id="3" creationId="{B1DF9D3E-53CE-A0B4-3C3C-775A3E3EE2E0}"/>
          </ac:spMkLst>
        </pc:spChg>
        <pc:spChg chg="add mod">
          <ac:chgData name="Eileen Fleming Suse" userId="S::efs3844@ads.northwestern.edu::725c94ef-d051-42d7-9d33-8572765d592b" providerId="AD" clId="Web-{C93D31B3-2B8C-DAAF-7090-3A2197BCB065}" dt="2023-10-27T21:31:44.448" v="224" actId="14100"/>
          <ac:spMkLst>
            <pc:docMk/>
            <pc:sldMk cId="3355787309" sldId="604"/>
            <ac:spMk id="7" creationId="{C2C4A4FB-85F0-1A6F-FCE0-0B66658A2386}"/>
          </ac:spMkLst>
        </pc:spChg>
        <pc:picChg chg="add del mod">
          <ac:chgData name="Eileen Fleming Suse" userId="S::efs3844@ads.northwestern.edu::725c94ef-d051-42d7-9d33-8572765d592b" providerId="AD" clId="Web-{C93D31B3-2B8C-DAAF-7090-3A2197BCB065}" dt="2023-10-27T21:29:46.945" v="207"/>
          <ac:picMkLst>
            <pc:docMk/>
            <pc:sldMk cId="3355787309" sldId="604"/>
            <ac:picMk id="8" creationId="{CFCA719F-085D-BF88-9706-0C08E8805D92}"/>
          </ac:picMkLst>
        </pc:picChg>
        <pc:picChg chg="add del mod">
          <ac:chgData name="Eileen Fleming Suse" userId="S::efs3844@ads.northwestern.edu::725c94ef-d051-42d7-9d33-8572765d592b" providerId="AD" clId="Web-{C93D31B3-2B8C-DAAF-7090-3A2197BCB065}" dt="2023-10-27T21:30:15.743" v="212"/>
          <ac:picMkLst>
            <pc:docMk/>
            <pc:sldMk cId="3355787309" sldId="604"/>
            <ac:picMk id="9" creationId="{A76D19E5-C9EB-D9B7-1001-C47E41765400}"/>
          </ac:picMkLst>
        </pc:picChg>
        <pc:picChg chg="add mod">
          <ac:chgData name="Eileen Fleming Suse" userId="S::efs3844@ads.northwestern.edu::725c94ef-d051-42d7-9d33-8572765d592b" providerId="AD" clId="Web-{C93D31B3-2B8C-DAAF-7090-3A2197BCB065}" dt="2023-10-27T21:31:30.338" v="218" actId="1076"/>
          <ac:picMkLst>
            <pc:docMk/>
            <pc:sldMk cId="3355787309" sldId="604"/>
            <ac:picMk id="10" creationId="{66E5EB26-086B-E77E-CBE6-BB12DE36113C}"/>
          </ac:picMkLst>
        </pc:picChg>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C93D31B3-2B8C-DAAF-7090-3A2197BCB065}" dt="2023-10-27T21:31:50.088" v="225"/>
              <pc2:cmMkLst xmlns:pc2="http://schemas.microsoft.com/office/powerpoint/2019/9/main/command">
                <pc:docMk/>
                <pc:sldMk cId="3355787309" sldId="604"/>
                <pc2:cmMk id="{5635E0A6-AC69-4FB6-B7FE-9DA078BBCAEE}"/>
              </pc2:cmMkLst>
            </pc226:cmChg>
          </p:ext>
        </pc:extLst>
      </pc:sldChg>
      <pc:sldChg chg="addSp delSp modSp">
        <pc:chgData name="Eileen Fleming Suse" userId="S::efs3844@ads.northwestern.edu::725c94ef-d051-42d7-9d33-8572765d592b" providerId="AD" clId="Web-{C93D31B3-2B8C-DAAF-7090-3A2197BCB065}" dt="2023-10-27T21:04:15.366" v="110"/>
        <pc:sldMkLst>
          <pc:docMk/>
          <pc:sldMk cId="1452140663" sldId="605"/>
        </pc:sldMkLst>
        <pc:spChg chg="add del mod">
          <ac:chgData name="Eileen Fleming Suse" userId="S::efs3844@ads.northwestern.edu::725c94ef-d051-42d7-9d33-8572765d592b" providerId="AD" clId="Web-{C93D31B3-2B8C-DAAF-7090-3A2197BCB065}" dt="2023-10-27T21:04:15.366" v="110"/>
          <ac:spMkLst>
            <pc:docMk/>
            <pc:sldMk cId="1452140663" sldId="605"/>
            <ac:spMk id="3" creationId="{7DA7F350-CE79-EDF6-B779-CC8CCCE0E40A}"/>
          </ac:spMkLst>
        </pc:spChg>
      </pc:sldChg>
      <pc:sldChg chg="delCm">
        <pc:chgData name="Eileen Fleming Suse" userId="S::efs3844@ads.northwestern.edu::725c94ef-d051-42d7-9d33-8572765d592b" providerId="AD" clId="Web-{C93D31B3-2B8C-DAAF-7090-3A2197BCB065}" dt="2023-10-27T21:32:15.542" v="226"/>
        <pc:sldMkLst>
          <pc:docMk/>
          <pc:sldMk cId="2003568291" sldId="609"/>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1:32:15.542" v="226"/>
              <pc2:cmMkLst xmlns:pc2="http://schemas.microsoft.com/office/powerpoint/2019/9/main/command">
                <pc:docMk/>
                <pc:sldMk cId="2003568291" sldId="609"/>
                <pc2:cmMk id="{AE1B6C45-0EF0-4CD3-8E51-393E7FE3AF62}"/>
              </pc2:cmMkLst>
            </pc226:cmChg>
          </p:ext>
        </pc:extLst>
      </pc:sldChg>
      <pc:sldChg chg="modSp">
        <pc:chgData name="Eileen Fleming Suse" userId="S::efs3844@ads.northwestern.edu::725c94ef-d051-42d7-9d33-8572765d592b" providerId="AD" clId="Web-{C93D31B3-2B8C-DAAF-7090-3A2197BCB065}" dt="2023-10-27T20:25:18.004" v="5" actId="1076"/>
        <pc:sldMkLst>
          <pc:docMk/>
          <pc:sldMk cId="3726638559" sldId="616"/>
        </pc:sldMkLst>
        <pc:spChg chg="mod">
          <ac:chgData name="Eileen Fleming Suse" userId="S::efs3844@ads.northwestern.edu::725c94ef-d051-42d7-9d33-8572765d592b" providerId="AD" clId="Web-{C93D31B3-2B8C-DAAF-7090-3A2197BCB065}" dt="2023-10-27T20:25:18.004" v="5" actId="1076"/>
          <ac:spMkLst>
            <pc:docMk/>
            <pc:sldMk cId="3726638559" sldId="616"/>
            <ac:spMk id="2175" creationId="{00000000-0000-0000-0000-000000000000}"/>
          </ac:spMkLst>
        </pc:spChg>
      </pc:sldChg>
      <pc:sldChg chg="addSp modSp addAnim delAnim">
        <pc:chgData name="Eileen Fleming Suse" userId="S::efs3844@ads.northwestern.edu::725c94ef-d051-42d7-9d33-8572765d592b" providerId="AD" clId="Web-{C93D31B3-2B8C-DAAF-7090-3A2197BCB065}" dt="2023-10-27T20:31:31.278" v="42"/>
        <pc:sldMkLst>
          <pc:docMk/>
          <pc:sldMk cId="1210022179" sldId="617"/>
        </pc:sldMkLst>
        <pc:spChg chg="add mod">
          <ac:chgData name="Eileen Fleming Suse" userId="S::efs3844@ads.northwestern.edu::725c94ef-d051-42d7-9d33-8572765d592b" providerId="AD" clId="Web-{C93D31B3-2B8C-DAAF-7090-3A2197BCB065}" dt="2023-10-27T20:28:42.899" v="19" actId="14100"/>
          <ac:spMkLst>
            <pc:docMk/>
            <pc:sldMk cId="1210022179" sldId="617"/>
            <ac:spMk id="3" creationId="{58E28592-FDD2-A9FB-FF64-0D7E537442D4}"/>
          </ac:spMkLst>
        </pc:spChg>
        <pc:spChg chg="add mod">
          <ac:chgData name="Eileen Fleming Suse" userId="S::efs3844@ads.northwestern.edu::725c94ef-d051-42d7-9d33-8572765d592b" providerId="AD" clId="Web-{C93D31B3-2B8C-DAAF-7090-3A2197BCB065}" dt="2023-10-27T20:31:20.653" v="40" actId="20577"/>
          <ac:spMkLst>
            <pc:docMk/>
            <pc:sldMk cId="1210022179" sldId="617"/>
            <ac:spMk id="6" creationId="{602B4FC7-02B4-B308-F882-1F10636CBFF9}"/>
          </ac:spMkLst>
        </pc:spChg>
      </pc:sldChg>
      <pc:sldChg chg="del">
        <pc:chgData name="Eileen Fleming Suse" userId="S::efs3844@ads.northwestern.edu::725c94ef-d051-42d7-9d33-8572765d592b" providerId="AD" clId="Web-{C93D31B3-2B8C-DAAF-7090-3A2197BCB065}" dt="2023-10-27T20:29:09.806" v="23"/>
        <pc:sldMkLst>
          <pc:docMk/>
          <pc:sldMk cId="3431700372" sldId="618"/>
        </pc:sldMkLst>
      </pc:sldChg>
      <pc:sldChg chg="del">
        <pc:chgData name="Eileen Fleming Suse" userId="S::efs3844@ads.northwestern.edu::725c94ef-d051-42d7-9d33-8572765d592b" providerId="AD" clId="Web-{C93D31B3-2B8C-DAAF-7090-3A2197BCB065}" dt="2023-10-27T20:29:39.400" v="26"/>
        <pc:sldMkLst>
          <pc:docMk/>
          <pc:sldMk cId="923498403" sldId="619"/>
        </pc:sldMkLst>
      </pc:sldChg>
      <pc:sldChg chg="del">
        <pc:chgData name="Eileen Fleming Suse" userId="S::efs3844@ads.northwestern.edu::725c94ef-d051-42d7-9d33-8572765d592b" providerId="AD" clId="Web-{C93D31B3-2B8C-DAAF-7090-3A2197BCB065}" dt="2023-10-27T20:29:49.526" v="27"/>
        <pc:sldMkLst>
          <pc:docMk/>
          <pc:sldMk cId="3074345071" sldId="620"/>
        </pc:sldMkLst>
      </pc:sldChg>
      <pc:sldChg chg="ord addAnim">
        <pc:chgData name="Eileen Fleming Suse" userId="S::efs3844@ads.northwestern.edu::725c94ef-d051-42d7-9d33-8572765d592b" providerId="AD" clId="Web-{C93D31B3-2B8C-DAAF-7090-3A2197BCB065}" dt="2023-10-27T20:27:46.132" v="13"/>
        <pc:sldMkLst>
          <pc:docMk/>
          <pc:sldMk cId="3850125703" sldId="622"/>
        </pc:sldMkLst>
      </pc:sldChg>
      <pc:sldChg chg="addSp modSp add replId addAnim">
        <pc:chgData name="Eileen Fleming Suse" userId="S::efs3844@ads.northwestern.edu::725c94ef-d051-42d7-9d33-8572765d592b" providerId="AD" clId="Web-{C93D31B3-2B8C-DAAF-7090-3A2197BCB065}" dt="2023-10-27T20:32:10.872" v="46" actId="20577"/>
        <pc:sldMkLst>
          <pc:docMk/>
          <pc:sldMk cId="2561278274" sldId="630"/>
        </pc:sldMkLst>
        <pc:spChg chg="mod">
          <ac:chgData name="Eileen Fleming Suse" userId="S::efs3844@ads.northwestern.edu::725c94ef-d051-42d7-9d33-8572765d592b" providerId="AD" clId="Web-{C93D31B3-2B8C-DAAF-7090-3A2197BCB065}" dt="2023-10-27T20:29:06.103" v="22" actId="1076"/>
          <ac:spMkLst>
            <pc:docMk/>
            <pc:sldMk cId="2561278274" sldId="630"/>
            <ac:spMk id="3" creationId="{58E28592-FDD2-A9FB-FF64-0D7E537442D4}"/>
          </ac:spMkLst>
        </pc:spChg>
        <pc:spChg chg="add mod">
          <ac:chgData name="Eileen Fleming Suse" userId="S::efs3844@ads.northwestern.edu::725c94ef-d051-42d7-9d33-8572765d592b" providerId="AD" clId="Web-{C93D31B3-2B8C-DAAF-7090-3A2197BCB065}" dt="2023-10-27T20:32:10.872" v="46" actId="20577"/>
          <ac:spMkLst>
            <pc:docMk/>
            <pc:sldMk cId="2561278274" sldId="630"/>
            <ac:spMk id="7" creationId="{8496B0C4-3602-7272-3A32-22184B4B8223}"/>
          </ac:spMkLst>
        </pc:spChg>
      </pc:sldChg>
      <pc:sldChg chg="addSp modSp add replId addAnim delAnim">
        <pc:chgData name="Eileen Fleming Suse" userId="S::efs3844@ads.northwestern.edu::725c94ef-d051-42d7-9d33-8572765d592b" providerId="AD" clId="Web-{C93D31B3-2B8C-DAAF-7090-3A2197BCB065}" dt="2023-10-27T20:32:37.435" v="51"/>
        <pc:sldMkLst>
          <pc:docMk/>
          <pc:sldMk cId="488873692" sldId="631"/>
        </pc:sldMkLst>
        <pc:spChg chg="mod">
          <ac:chgData name="Eileen Fleming Suse" userId="S::efs3844@ads.northwestern.edu::725c94ef-d051-42d7-9d33-8572765d592b" providerId="AD" clId="Web-{C93D31B3-2B8C-DAAF-7090-3A2197BCB065}" dt="2023-10-27T20:29:32.728" v="25" actId="1076"/>
          <ac:spMkLst>
            <pc:docMk/>
            <pc:sldMk cId="488873692" sldId="631"/>
            <ac:spMk id="3" creationId="{58E28592-FDD2-A9FB-FF64-0D7E537442D4}"/>
          </ac:spMkLst>
        </pc:spChg>
        <pc:spChg chg="add mod">
          <ac:chgData name="Eileen Fleming Suse" userId="S::efs3844@ads.northwestern.edu::725c94ef-d051-42d7-9d33-8572765d592b" providerId="AD" clId="Web-{C93D31B3-2B8C-DAAF-7090-3A2197BCB065}" dt="2023-10-27T20:32:37.201" v="50" actId="20577"/>
          <ac:spMkLst>
            <pc:docMk/>
            <pc:sldMk cId="488873692" sldId="631"/>
            <ac:spMk id="7" creationId="{DFD5A0D1-51F6-710D-06A4-BD15D9E25C76}"/>
          </ac:spMkLst>
        </pc:spChg>
      </pc:sldChg>
      <pc:sldChg chg="addSp modSp add ord replId addAnim">
        <pc:chgData name="Eileen Fleming Suse" userId="S::efs3844@ads.northwestern.edu::725c94ef-d051-42d7-9d33-8572765d592b" providerId="AD" clId="Web-{C93D31B3-2B8C-DAAF-7090-3A2197BCB065}" dt="2023-10-27T20:32:48.670" v="54" actId="20577"/>
        <pc:sldMkLst>
          <pc:docMk/>
          <pc:sldMk cId="3115055849" sldId="632"/>
        </pc:sldMkLst>
        <pc:spChg chg="mod">
          <ac:chgData name="Eileen Fleming Suse" userId="S::efs3844@ads.northwestern.edu::725c94ef-d051-42d7-9d33-8572765d592b" providerId="AD" clId="Web-{C93D31B3-2B8C-DAAF-7090-3A2197BCB065}" dt="2023-10-27T20:30:07.417" v="30" actId="1076"/>
          <ac:spMkLst>
            <pc:docMk/>
            <pc:sldMk cId="3115055849" sldId="632"/>
            <ac:spMk id="3" creationId="{58E28592-FDD2-A9FB-FF64-0D7E537442D4}"/>
          </ac:spMkLst>
        </pc:spChg>
        <pc:spChg chg="add mod">
          <ac:chgData name="Eileen Fleming Suse" userId="S::efs3844@ads.northwestern.edu::725c94ef-d051-42d7-9d33-8572765d592b" providerId="AD" clId="Web-{C93D31B3-2B8C-DAAF-7090-3A2197BCB065}" dt="2023-10-27T20:32:48.670" v="54" actId="20577"/>
          <ac:spMkLst>
            <pc:docMk/>
            <pc:sldMk cId="3115055849" sldId="632"/>
            <ac:spMk id="7" creationId="{C2E32C2D-903E-520B-06DF-BD02CDACB918}"/>
          </ac:spMkLst>
        </pc:spChg>
      </pc:sldChg>
      <pc:sldChg chg="addSp modSp add replId addAnim">
        <pc:chgData name="Eileen Fleming Suse" userId="S::efs3844@ads.northwestern.edu::725c94ef-d051-42d7-9d33-8572765d592b" providerId="AD" clId="Web-{C93D31B3-2B8C-DAAF-7090-3A2197BCB065}" dt="2023-10-27T20:33:06.811" v="57" actId="20577"/>
        <pc:sldMkLst>
          <pc:docMk/>
          <pc:sldMk cId="3999708931" sldId="633"/>
        </pc:sldMkLst>
        <pc:spChg chg="mod">
          <ac:chgData name="Eileen Fleming Suse" userId="S::efs3844@ads.northwestern.edu::725c94ef-d051-42d7-9d33-8572765d592b" providerId="AD" clId="Web-{C93D31B3-2B8C-DAAF-7090-3A2197BCB065}" dt="2023-10-27T20:30:30.042" v="32" actId="1076"/>
          <ac:spMkLst>
            <pc:docMk/>
            <pc:sldMk cId="3999708931" sldId="633"/>
            <ac:spMk id="3" creationId="{58E28592-FDD2-A9FB-FF64-0D7E537442D4}"/>
          </ac:spMkLst>
        </pc:spChg>
        <pc:spChg chg="add mod">
          <ac:chgData name="Eileen Fleming Suse" userId="S::efs3844@ads.northwestern.edu::725c94ef-d051-42d7-9d33-8572765d592b" providerId="AD" clId="Web-{C93D31B3-2B8C-DAAF-7090-3A2197BCB065}" dt="2023-10-27T20:33:06.811" v="57" actId="20577"/>
          <ac:spMkLst>
            <pc:docMk/>
            <pc:sldMk cId="3999708931" sldId="633"/>
            <ac:spMk id="7" creationId="{32D43D21-12EB-57B8-92CD-FBCBE656C832}"/>
          </ac:spMkLst>
        </pc:spChg>
      </pc:sldChg>
    </pc:docChg>
  </pc:docChgLst>
  <pc:docChgLst>
    <pc:chgData name="Eileen Fleming Suse" userId="S::efs3844@ads.northwestern.edu::725c94ef-d051-42d7-9d33-8572765d592b" providerId="AD" clId="Web-{9DE0ADE9-A0A8-D2EA-1EF2-AD3C089DDA7A}"/>
    <pc:docChg chg="addSld delSld modSld addMainMaster">
      <pc:chgData name="Eileen Fleming Suse" userId="S::efs3844@ads.northwestern.edu::725c94ef-d051-42d7-9d33-8572765d592b" providerId="AD" clId="Web-{9DE0ADE9-A0A8-D2EA-1EF2-AD3C089DDA7A}" dt="2023-10-19T17:41:58.437" v="223"/>
      <pc:docMkLst>
        <pc:docMk/>
      </pc:docMkLst>
      <pc:sldChg chg="modSp">
        <pc:chgData name="Eileen Fleming Suse" userId="S::efs3844@ads.northwestern.edu::725c94ef-d051-42d7-9d33-8572765d592b" providerId="AD" clId="Web-{9DE0ADE9-A0A8-D2EA-1EF2-AD3C089DDA7A}" dt="2023-10-19T17:15:26.480" v="60" actId="20577"/>
        <pc:sldMkLst>
          <pc:docMk/>
          <pc:sldMk cId="3127921386" sldId="280"/>
        </pc:sldMkLst>
        <pc:spChg chg="mod">
          <ac:chgData name="Eileen Fleming Suse" userId="S::efs3844@ads.northwestern.edu::725c94ef-d051-42d7-9d33-8572765d592b" providerId="AD" clId="Web-{9DE0ADE9-A0A8-D2EA-1EF2-AD3C089DDA7A}" dt="2023-10-19T17:14:04.384" v="2" actId="20577"/>
          <ac:spMkLst>
            <pc:docMk/>
            <pc:sldMk cId="3127921386" sldId="280"/>
            <ac:spMk id="3" creationId="{1D742501-F937-8041-84E5-748F96AE991B}"/>
          </ac:spMkLst>
        </pc:spChg>
        <pc:spChg chg="mod">
          <ac:chgData name="Eileen Fleming Suse" userId="S::efs3844@ads.northwestern.edu::725c94ef-d051-42d7-9d33-8572765d592b" providerId="AD" clId="Web-{9DE0ADE9-A0A8-D2EA-1EF2-AD3C089DDA7A}" dt="2023-10-19T17:15:26.480" v="60" actId="20577"/>
          <ac:spMkLst>
            <pc:docMk/>
            <pc:sldMk cId="3127921386" sldId="280"/>
            <ac:spMk id="4" creationId="{19922563-64D6-2A4E-B048-13AC25DB45AD}"/>
          </ac:spMkLst>
        </pc:spChg>
      </pc:sldChg>
      <pc:sldChg chg="modSp">
        <pc:chgData name="Eileen Fleming Suse" userId="S::efs3844@ads.northwestern.edu::725c94ef-d051-42d7-9d33-8572765d592b" providerId="AD" clId="Web-{9DE0ADE9-A0A8-D2EA-1EF2-AD3C089DDA7A}" dt="2023-10-19T17:31:26.808" v="220" actId="20577"/>
        <pc:sldMkLst>
          <pc:docMk/>
          <pc:sldMk cId="4044691067" sldId="283"/>
        </pc:sldMkLst>
        <pc:spChg chg="mod">
          <ac:chgData name="Eileen Fleming Suse" userId="S::efs3844@ads.northwestern.edu::725c94ef-d051-42d7-9d33-8572765d592b" providerId="AD" clId="Web-{9DE0ADE9-A0A8-D2EA-1EF2-AD3C089DDA7A}" dt="2023-10-19T17:20:28.099" v="150" actId="20577"/>
          <ac:spMkLst>
            <pc:docMk/>
            <pc:sldMk cId="4044691067" sldId="283"/>
            <ac:spMk id="3" creationId="{00000000-0000-0000-0000-000000000000}"/>
          </ac:spMkLst>
        </pc:spChg>
        <pc:spChg chg="mod">
          <ac:chgData name="Eileen Fleming Suse" userId="S::efs3844@ads.northwestern.edu::725c94ef-d051-42d7-9d33-8572765d592b" providerId="AD" clId="Web-{9DE0ADE9-A0A8-D2EA-1EF2-AD3C089DDA7A}" dt="2023-10-19T17:31:26.808" v="220"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9DE0ADE9-A0A8-D2EA-1EF2-AD3C089DDA7A}" dt="2023-10-19T17:14:36.276" v="18"/>
        <pc:sldMkLst>
          <pc:docMk/>
          <pc:sldMk cId="2069350649" sldId="284"/>
        </pc:sldMkLst>
      </pc:sldChg>
      <pc:sldChg chg="del">
        <pc:chgData name="Eileen Fleming Suse" userId="S::efs3844@ads.northwestern.edu::725c94ef-d051-42d7-9d33-8572765d592b" providerId="AD" clId="Web-{9DE0ADE9-A0A8-D2EA-1EF2-AD3C089DDA7A}" dt="2023-10-19T17:14:43.713" v="23"/>
        <pc:sldMkLst>
          <pc:docMk/>
          <pc:sldMk cId="2092144123" sldId="285"/>
        </pc:sldMkLst>
      </pc:sldChg>
      <pc:sldChg chg="del">
        <pc:chgData name="Eileen Fleming Suse" userId="S::efs3844@ads.northwestern.edu::725c94ef-d051-42d7-9d33-8572765d592b" providerId="AD" clId="Web-{9DE0ADE9-A0A8-D2EA-1EF2-AD3C089DDA7A}" dt="2023-10-19T17:14:35.369" v="17"/>
        <pc:sldMkLst>
          <pc:docMk/>
          <pc:sldMk cId="1536630639" sldId="286"/>
        </pc:sldMkLst>
      </pc:sldChg>
      <pc:sldChg chg="del">
        <pc:chgData name="Eileen Fleming Suse" userId="S::efs3844@ads.northwestern.edu::725c94ef-d051-42d7-9d33-8572765d592b" providerId="AD" clId="Web-{9DE0ADE9-A0A8-D2EA-1EF2-AD3C089DDA7A}" dt="2023-10-19T17:14:37.760" v="19"/>
        <pc:sldMkLst>
          <pc:docMk/>
          <pc:sldMk cId="837706999" sldId="287"/>
        </pc:sldMkLst>
      </pc:sldChg>
      <pc:sldChg chg="del">
        <pc:chgData name="Eileen Fleming Suse" userId="S::efs3844@ads.northwestern.edu::725c94ef-d051-42d7-9d33-8572765d592b" providerId="AD" clId="Web-{9DE0ADE9-A0A8-D2EA-1EF2-AD3C089DDA7A}" dt="2023-10-19T17:14:38.151" v="20"/>
        <pc:sldMkLst>
          <pc:docMk/>
          <pc:sldMk cId="593652294" sldId="289"/>
        </pc:sldMkLst>
      </pc:sldChg>
      <pc:sldChg chg="del">
        <pc:chgData name="Eileen Fleming Suse" userId="S::efs3844@ads.northwestern.edu::725c94ef-d051-42d7-9d33-8572765d592b" providerId="AD" clId="Web-{9DE0ADE9-A0A8-D2EA-1EF2-AD3C089DDA7A}" dt="2023-10-19T17:14:24.494" v="5"/>
        <pc:sldMkLst>
          <pc:docMk/>
          <pc:sldMk cId="2453140522" sldId="291"/>
        </pc:sldMkLst>
      </pc:sldChg>
      <pc:sldChg chg="del">
        <pc:chgData name="Eileen Fleming Suse" userId="S::efs3844@ads.northwestern.edu::725c94ef-d051-42d7-9d33-8572765d592b" providerId="AD" clId="Web-{9DE0ADE9-A0A8-D2EA-1EF2-AD3C089DDA7A}" dt="2023-10-19T17:14:26.275" v="6"/>
        <pc:sldMkLst>
          <pc:docMk/>
          <pc:sldMk cId="1209325080" sldId="292"/>
        </pc:sldMkLst>
      </pc:sldChg>
      <pc:sldChg chg="del">
        <pc:chgData name="Eileen Fleming Suse" userId="S::efs3844@ads.northwestern.edu::725c94ef-d051-42d7-9d33-8572765d592b" providerId="AD" clId="Web-{9DE0ADE9-A0A8-D2EA-1EF2-AD3C089DDA7A}" dt="2023-10-19T17:14:42.213" v="22"/>
        <pc:sldMkLst>
          <pc:docMk/>
          <pc:sldMk cId="2487210000" sldId="294"/>
        </pc:sldMkLst>
      </pc:sldChg>
      <pc:sldChg chg="del">
        <pc:chgData name="Eileen Fleming Suse" userId="S::efs3844@ads.northwestern.edu::725c94ef-d051-42d7-9d33-8572765d592b" providerId="AD" clId="Web-{9DE0ADE9-A0A8-D2EA-1EF2-AD3C089DDA7A}" dt="2023-10-19T17:14:55.589" v="52"/>
        <pc:sldMkLst>
          <pc:docMk/>
          <pc:sldMk cId="2040509865" sldId="295"/>
        </pc:sldMkLst>
      </pc:sldChg>
      <pc:sldChg chg="del">
        <pc:chgData name="Eileen Fleming Suse" userId="S::efs3844@ads.northwestern.edu::725c94ef-d051-42d7-9d33-8572765d592b" providerId="AD" clId="Web-{9DE0ADE9-A0A8-D2EA-1EF2-AD3C089DDA7A}" dt="2023-10-19T17:14:55.417" v="35"/>
        <pc:sldMkLst>
          <pc:docMk/>
          <pc:sldMk cId="3613951002" sldId="299"/>
        </pc:sldMkLst>
      </pc:sldChg>
      <pc:sldChg chg="del">
        <pc:chgData name="Eileen Fleming Suse" userId="S::efs3844@ads.northwestern.edu::725c94ef-d051-42d7-9d33-8572765d592b" providerId="AD" clId="Web-{9DE0ADE9-A0A8-D2EA-1EF2-AD3C089DDA7A}" dt="2023-10-19T17:14:48.120" v="29"/>
        <pc:sldMkLst>
          <pc:docMk/>
          <pc:sldMk cId="426344767" sldId="300"/>
        </pc:sldMkLst>
      </pc:sldChg>
      <pc:sldChg chg="del">
        <pc:chgData name="Eileen Fleming Suse" userId="S::efs3844@ads.northwestern.edu::725c94ef-d051-42d7-9d33-8572765d592b" providerId="AD" clId="Web-{9DE0ADE9-A0A8-D2EA-1EF2-AD3C089DDA7A}" dt="2023-10-19T17:14:55.495" v="46"/>
        <pc:sldMkLst>
          <pc:docMk/>
          <pc:sldMk cId="1677014618" sldId="302"/>
        </pc:sldMkLst>
      </pc:sldChg>
      <pc:sldChg chg="del">
        <pc:chgData name="Eileen Fleming Suse" userId="S::efs3844@ads.northwestern.edu::725c94ef-d051-42d7-9d33-8572765d592b" providerId="AD" clId="Web-{9DE0ADE9-A0A8-D2EA-1EF2-AD3C089DDA7A}" dt="2023-10-19T17:14:55.526" v="48"/>
        <pc:sldMkLst>
          <pc:docMk/>
          <pc:sldMk cId="708289948" sldId="303"/>
        </pc:sldMkLst>
      </pc:sldChg>
      <pc:sldChg chg="del">
        <pc:chgData name="Eileen Fleming Suse" userId="S::efs3844@ads.northwestern.edu::725c94ef-d051-42d7-9d33-8572765d592b" providerId="AD" clId="Web-{9DE0ADE9-A0A8-D2EA-1EF2-AD3C089DDA7A}" dt="2023-10-19T17:14:55.511" v="47"/>
        <pc:sldMkLst>
          <pc:docMk/>
          <pc:sldMk cId="2653032575" sldId="304"/>
        </pc:sldMkLst>
      </pc:sldChg>
      <pc:sldChg chg="del">
        <pc:chgData name="Eileen Fleming Suse" userId="S::efs3844@ads.northwestern.edu::725c94ef-d051-42d7-9d33-8572765d592b" providerId="AD" clId="Web-{9DE0ADE9-A0A8-D2EA-1EF2-AD3C089DDA7A}" dt="2023-10-19T17:14:55.542" v="49"/>
        <pc:sldMkLst>
          <pc:docMk/>
          <pc:sldMk cId="1372958822" sldId="305"/>
        </pc:sldMkLst>
      </pc:sldChg>
      <pc:sldChg chg="del">
        <pc:chgData name="Eileen Fleming Suse" userId="S::efs3844@ads.northwestern.edu::725c94ef-d051-42d7-9d33-8572765d592b" providerId="AD" clId="Web-{9DE0ADE9-A0A8-D2EA-1EF2-AD3C089DDA7A}" dt="2023-10-19T17:14:55.479" v="45"/>
        <pc:sldMkLst>
          <pc:docMk/>
          <pc:sldMk cId="780409547" sldId="307"/>
        </pc:sldMkLst>
      </pc:sldChg>
      <pc:sldChg chg="del">
        <pc:chgData name="Eileen Fleming Suse" userId="S::efs3844@ads.northwestern.edu::725c94ef-d051-42d7-9d33-8572765d592b" providerId="AD" clId="Web-{9DE0ADE9-A0A8-D2EA-1EF2-AD3C089DDA7A}" dt="2023-10-19T17:14:55.589" v="53"/>
        <pc:sldMkLst>
          <pc:docMk/>
          <pc:sldMk cId="329125591" sldId="308"/>
        </pc:sldMkLst>
      </pc:sldChg>
      <pc:sldChg chg="del">
        <pc:chgData name="Eileen Fleming Suse" userId="S::efs3844@ads.northwestern.edu::725c94ef-d051-42d7-9d33-8572765d592b" providerId="AD" clId="Web-{9DE0ADE9-A0A8-D2EA-1EF2-AD3C089DDA7A}" dt="2023-10-19T17:14:44.213" v="24"/>
        <pc:sldMkLst>
          <pc:docMk/>
          <pc:sldMk cId="2033640025" sldId="309"/>
        </pc:sldMkLst>
      </pc:sldChg>
      <pc:sldChg chg="del">
        <pc:chgData name="Eileen Fleming Suse" userId="S::efs3844@ads.northwestern.edu::725c94ef-d051-42d7-9d33-8572765d592b" providerId="AD" clId="Web-{9DE0ADE9-A0A8-D2EA-1EF2-AD3C089DDA7A}" dt="2023-10-19T17:14:45.901" v="26"/>
        <pc:sldMkLst>
          <pc:docMk/>
          <pc:sldMk cId="1888859321" sldId="310"/>
        </pc:sldMkLst>
      </pc:sldChg>
      <pc:sldChg chg="del">
        <pc:chgData name="Eileen Fleming Suse" userId="S::efs3844@ads.northwestern.edu::725c94ef-d051-42d7-9d33-8572765d592b" providerId="AD" clId="Web-{9DE0ADE9-A0A8-D2EA-1EF2-AD3C089DDA7A}" dt="2023-10-19T17:14:46.573" v="27"/>
        <pc:sldMkLst>
          <pc:docMk/>
          <pc:sldMk cId="2782366363" sldId="311"/>
        </pc:sldMkLst>
      </pc:sldChg>
      <pc:sldChg chg="del">
        <pc:chgData name="Eileen Fleming Suse" userId="S::efs3844@ads.northwestern.edu::725c94ef-d051-42d7-9d33-8572765d592b" providerId="AD" clId="Web-{9DE0ADE9-A0A8-D2EA-1EF2-AD3C089DDA7A}" dt="2023-10-19T17:14:47.167" v="28"/>
        <pc:sldMkLst>
          <pc:docMk/>
          <pc:sldMk cId="1780623164" sldId="312"/>
        </pc:sldMkLst>
      </pc:sldChg>
      <pc:sldChg chg="del">
        <pc:chgData name="Eileen Fleming Suse" userId="S::efs3844@ads.northwestern.edu::725c94ef-d051-42d7-9d33-8572765d592b" providerId="AD" clId="Web-{9DE0ADE9-A0A8-D2EA-1EF2-AD3C089DDA7A}" dt="2023-10-19T17:14:48.479" v="30"/>
        <pc:sldMkLst>
          <pc:docMk/>
          <pc:sldMk cId="1724020679" sldId="313"/>
        </pc:sldMkLst>
      </pc:sldChg>
      <pc:sldChg chg="del">
        <pc:chgData name="Eileen Fleming Suse" userId="S::efs3844@ads.northwestern.edu::725c94ef-d051-42d7-9d33-8572765d592b" providerId="AD" clId="Web-{9DE0ADE9-A0A8-D2EA-1EF2-AD3C089DDA7A}" dt="2023-10-19T17:14:49.104" v="31"/>
        <pc:sldMkLst>
          <pc:docMk/>
          <pc:sldMk cId="201651367" sldId="314"/>
        </pc:sldMkLst>
      </pc:sldChg>
      <pc:sldChg chg="del">
        <pc:chgData name="Eileen Fleming Suse" userId="S::efs3844@ads.northwestern.edu::725c94ef-d051-42d7-9d33-8572765d592b" providerId="AD" clId="Web-{9DE0ADE9-A0A8-D2EA-1EF2-AD3C089DDA7A}" dt="2023-10-19T17:14:55.589" v="55"/>
        <pc:sldMkLst>
          <pc:docMk/>
          <pc:sldMk cId="1008592618" sldId="315"/>
        </pc:sldMkLst>
      </pc:sldChg>
      <pc:sldChg chg="del">
        <pc:chgData name="Eileen Fleming Suse" userId="S::efs3844@ads.northwestern.edu::725c94ef-d051-42d7-9d33-8572765d592b" providerId="AD" clId="Web-{9DE0ADE9-A0A8-D2EA-1EF2-AD3C089DDA7A}" dt="2023-10-19T17:14:55.432" v="38"/>
        <pc:sldMkLst>
          <pc:docMk/>
          <pc:sldMk cId="1410612689" sldId="316"/>
        </pc:sldMkLst>
      </pc:sldChg>
      <pc:sldChg chg="del">
        <pc:chgData name="Eileen Fleming Suse" userId="S::efs3844@ads.northwestern.edu::725c94ef-d051-42d7-9d33-8572765d592b" providerId="AD" clId="Web-{9DE0ADE9-A0A8-D2EA-1EF2-AD3C089DDA7A}" dt="2023-10-19T17:14:55.589" v="54"/>
        <pc:sldMkLst>
          <pc:docMk/>
          <pc:sldMk cId="3358066547" sldId="317"/>
        </pc:sldMkLst>
      </pc:sldChg>
      <pc:sldChg chg="del">
        <pc:chgData name="Eileen Fleming Suse" userId="S::efs3844@ads.northwestern.edu::725c94ef-d051-42d7-9d33-8572765d592b" providerId="AD" clId="Web-{9DE0ADE9-A0A8-D2EA-1EF2-AD3C089DDA7A}" dt="2023-10-19T17:14:55.464" v="41"/>
        <pc:sldMkLst>
          <pc:docMk/>
          <pc:sldMk cId="749448274" sldId="318"/>
        </pc:sldMkLst>
      </pc:sldChg>
      <pc:sldChg chg="del">
        <pc:chgData name="Eileen Fleming Suse" userId="S::efs3844@ads.northwestern.edu::725c94ef-d051-42d7-9d33-8572765d592b" providerId="AD" clId="Web-{9DE0ADE9-A0A8-D2EA-1EF2-AD3C089DDA7A}" dt="2023-10-19T17:14:55.417" v="33"/>
        <pc:sldMkLst>
          <pc:docMk/>
          <pc:sldMk cId="2641713020" sldId="325"/>
        </pc:sldMkLst>
      </pc:sldChg>
      <pc:sldChg chg="del">
        <pc:chgData name="Eileen Fleming Suse" userId="S::efs3844@ads.northwestern.edu::725c94ef-d051-42d7-9d33-8572765d592b" providerId="AD" clId="Web-{9DE0ADE9-A0A8-D2EA-1EF2-AD3C089DDA7A}" dt="2023-10-19T17:14:28.307" v="7"/>
        <pc:sldMkLst>
          <pc:docMk/>
          <pc:sldMk cId="730283329" sldId="327"/>
        </pc:sldMkLst>
      </pc:sldChg>
      <pc:sldChg chg="del">
        <pc:chgData name="Eileen Fleming Suse" userId="S::efs3844@ads.northwestern.edu::725c94ef-d051-42d7-9d33-8572765d592b" providerId="AD" clId="Web-{9DE0ADE9-A0A8-D2EA-1EF2-AD3C089DDA7A}" dt="2023-10-19T17:14:55.464" v="43"/>
        <pc:sldMkLst>
          <pc:docMk/>
          <pc:sldMk cId="3398525892" sldId="328"/>
        </pc:sldMkLst>
      </pc:sldChg>
      <pc:sldChg chg="del">
        <pc:chgData name="Eileen Fleming Suse" userId="S::efs3844@ads.northwestern.edu::725c94ef-d051-42d7-9d33-8572765d592b" providerId="AD" clId="Web-{9DE0ADE9-A0A8-D2EA-1EF2-AD3C089DDA7A}" dt="2023-10-19T17:14:55.448" v="39"/>
        <pc:sldMkLst>
          <pc:docMk/>
          <pc:sldMk cId="1461223329" sldId="331"/>
        </pc:sldMkLst>
      </pc:sldChg>
      <pc:sldChg chg="del">
        <pc:chgData name="Eileen Fleming Suse" userId="S::efs3844@ads.northwestern.edu::725c94ef-d051-42d7-9d33-8572765d592b" providerId="AD" clId="Web-{9DE0ADE9-A0A8-D2EA-1EF2-AD3C089DDA7A}" dt="2023-10-19T17:14:29.853" v="9"/>
        <pc:sldMkLst>
          <pc:docMk/>
          <pc:sldMk cId="3139445884" sldId="332"/>
        </pc:sldMkLst>
      </pc:sldChg>
      <pc:sldChg chg="del">
        <pc:chgData name="Eileen Fleming Suse" userId="S::efs3844@ads.northwestern.edu::725c94ef-d051-42d7-9d33-8572765d592b" providerId="AD" clId="Web-{9DE0ADE9-A0A8-D2EA-1EF2-AD3C089DDA7A}" dt="2023-10-19T17:14:30.604" v="10"/>
        <pc:sldMkLst>
          <pc:docMk/>
          <pc:sldMk cId="633263341" sldId="333"/>
        </pc:sldMkLst>
      </pc:sldChg>
      <pc:sldChg chg="del">
        <pc:chgData name="Eileen Fleming Suse" userId="S::efs3844@ads.northwestern.edu::725c94ef-d051-42d7-9d33-8572765d592b" providerId="AD" clId="Web-{9DE0ADE9-A0A8-D2EA-1EF2-AD3C089DDA7A}" dt="2023-10-19T17:14:30.619" v="11"/>
        <pc:sldMkLst>
          <pc:docMk/>
          <pc:sldMk cId="609043565" sldId="334"/>
        </pc:sldMkLst>
      </pc:sldChg>
      <pc:sldChg chg="del">
        <pc:chgData name="Eileen Fleming Suse" userId="S::efs3844@ads.northwestern.edu::725c94ef-d051-42d7-9d33-8572765d592b" providerId="AD" clId="Web-{9DE0ADE9-A0A8-D2EA-1EF2-AD3C089DDA7A}" dt="2023-10-19T17:14:30.791" v="12"/>
        <pc:sldMkLst>
          <pc:docMk/>
          <pc:sldMk cId="3127513769" sldId="335"/>
        </pc:sldMkLst>
      </pc:sldChg>
      <pc:sldChg chg="del">
        <pc:chgData name="Eileen Fleming Suse" userId="S::efs3844@ads.northwestern.edu::725c94ef-d051-42d7-9d33-8572765d592b" providerId="AD" clId="Web-{9DE0ADE9-A0A8-D2EA-1EF2-AD3C089DDA7A}" dt="2023-10-19T17:13:45.415" v="0"/>
        <pc:sldMkLst>
          <pc:docMk/>
          <pc:sldMk cId="2155738570" sldId="336"/>
        </pc:sldMkLst>
      </pc:sldChg>
      <pc:sldChg chg="del">
        <pc:chgData name="Eileen Fleming Suse" userId="S::efs3844@ads.northwestern.edu::725c94ef-d051-42d7-9d33-8572765d592b" providerId="AD" clId="Web-{9DE0ADE9-A0A8-D2EA-1EF2-AD3C089DDA7A}" dt="2023-10-19T17:14:29.166" v="8"/>
        <pc:sldMkLst>
          <pc:docMk/>
          <pc:sldMk cId="3482793899" sldId="337"/>
        </pc:sldMkLst>
      </pc:sldChg>
      <pc:sldChg chg="del">
        <pc:chgData name="Eileen Fleming Suse" userId="S::efs3844@ads.northwestern.edu::725c94ef-d051-42d7-9d33-8572765d592b" providerId="AD" clId="Web-{9DE0ADE9-A0A8-D2EA-1EF2-AD3C089DDA7A}" dt="2023-10-19T17:14:55.417" v="37"/>
        <pc:sldMkLst>
          <pc:docMk/>
          <pc:sldMk cId="2871307081" sldId="338"/>
        </pc:sldMkLst>
      </pc:sldChg>
      <pc:sldChg chg="del">
        <pc:chgData name="Eileen Fleming Suse" userId="S::efs3844@ads.northwestern.edu::725c94ef-d051-42d7-9d33-8572765d592b" providerId="AD" clId="Web-{9DE0ADE9-A0A8-D2EA-1EF2-AD3C089DDA7A}" dt="2023-10-19T17:14:32.510" v="14"/>
        <pc:sldMkLst>
          <pc:docMk/>
          <pc:sldMk cId="2459589232" sldId="341"/>
        </pc:sldMkLst>
      </pc:sldChg>
      <pc:sldChg chg="del">
        <pc:chgData name="Eileen Fleming Suse" userId="S::efs3844@ads.northwestern.edu::725c94ef-d051-42d7-9d33-8572765d592b" providerId="AD" clId="Web-{9DE0ADE9-A0A8-D2EA-1EF2-AD3C089DDA7A}" dt="2023-10-19T17:14:45.088" v="25"/>
        <pc:sldMkLst>
          <pc:docMk/>
          <pc:sldMk cId="52189943" sldId="343"/>
        </pc:sldMkLst>
      </pc:sldChg>
      <pc:sldChg chg="del">
        <pc:chgData name="Eileen Fleming Suse" userId="S::efs3844@ads.northwestern.edu::725c94ef-d051-42d7-9d33-8572765d592b" providerId="AD" clId="Web-{9DE0ADE9-A0A8-D2EA-1EF2-AD3C089DDA7A}" dt="2023-10-19T17:14:19.447" v="3"/>
        <pc:sldMkLst>
          <pc:docMk/>
          <pc:sldMk cId="1572642716" sldId="344"/>
        </pc:sldMkLst>
      </pc:sldChg>
      <pc:sldChg chg="del">
        <pc:chgData name="Eileen Fleming Suse" userId="S::efs3844@ads.northwestern.edu::725c94ef-d051-42d7-9d33-8572765d592b" providerId="AD" clId="Web-{9DE0ADE9-A0A8-D2EA-1EF2-AD3C089DDA7A}" dt="2023-10-19T17:14:21.775" v="4"/>
        <pc:sldMkLst>
          <pc:docMk/>
          <pc:sldMk cId="2965993848" sldId="345"/>
        </pc:sldMkLst>
      </pc:sldChg>
      <pc:sldChg chg="del">
        <pc:chgData name="Eileen Fleming Suse" userId="S::efs3844@ads.northwestern.edu::725c94ef-d051-42d7-9d33-8572765d592b" providerId="AD" clId="Web-{9DE0ADE9-A0A8-D2EA-1EF2-AD3C089DDA7A}" dt="2023-10-19T17:14:55.542" v="50"/>
        <pc:sldMkLst>
          <pc:docMk/>
          <pc:sldMk cId="388018185" sldId="346"/>
        </pc:sldMkLst>
      </pc:sldChg>
      <pc:sldChg chg="del">
        <pc:chgData name="Eileen Fleming Suse" userId="S::efs3844@ads.northwestern.edu::725c94ef-d051-42d7-9d33-8572765d592b" providerId="AD" clId="Web-{9DE0ADE9-A0A8-D2EA-1EF2-AD3C089DDA7A}" dt="2023-10-19T17:14:55.464" v="44"/>
        <pc:sldMkLst>
          <pc:docMk/>
          <pc:sldMk cId="4266118864" sldId="347"/>
        </pc:sldMkLst>
      </pc:sldChg>
      <pc:sldChg chg="del">
        <pc:chgData name="Eileen Fleming Suse" userId="S::efs3844@ads.northwestern.edu::725c94ef-d051-42d7-9d33-8572765d592b" providerId="AD" clId="Web-{9DE0ADE9-A0A8-D2EA-1EF2-AD3C089DDA7A}" dt="2023-10-19T17:14:55.464" v="42"/>
        <pc:sldMkLst>
          <pc:docMk/>
          <pc:sldMk cId="1250040188" sldId="348"/>
        </pc:sldMkLst>
      </pc:sldChg>
      <pc:sldChg chg="del">
        <pc:chgData name="Eileen Fleming Suse" userId="S::efs3844@ads.northwestern.edu::725c94ef-d051-42d7-9d33-8572765d592b" providerId="AD" clId="Web-{9DE0ADE9-A0A8-D2EA-1EF2-AD3C089DDA7A}" dt="2023-10-19T17:14:55.464" v="40"/>
        <pc:sldMkLst>
          <pc:docMk/>
          <pc:sldMk cId="3133961592" sldId="352"/>
        </pc:sldMkLst>
      </pc:sldChg>
      <pc:sldChg chg="del">
        <pc:chgData name="Eileen Fleming Suse" userId="S::efs3844@ads.northwestern.edu::725c94ef-d051-42d7-9d33-8572765d592b" providerId="AD" clId="Web-{9DE0ADE9-A0A8-D2EA-1EF2-AD3C089DDA7A}" dt="2023-10-19T17:20:30.896" v="151"/>
        <pc:sldMkLst>
          <pc:docMk/>
          <pc:sldMk cId="330467900" sldId="353"/>
        </pc:sldMkLst>
      </pc:sldChg>
      <pc:sldChg chg="del">
        <pc:chgData name="Eileen Fleming Suse" userId="S::efs3844@ads.northwestern.edu::725c94ef-d051-42d7-9d33-8572765d592b" providerId="AD" clId="Web-{9DE0ADE9-A0A8-D2EA-1EF2-AD3C089DDA7A}" dt="2023-10-19T17:14:33.525" v="15"/>
        <pc:sldMkLst>
          <pc:docMk/>
          <pc:sldMk cId="699425124" sldId="354"/>
        </pc:sldMkLst>
      </pc:sldChg>
      <pc:sldChg chg="del">
        <pc:chgData name="Eileen Fleming Suse" userId="S::efs3844@ads.northwestern.edu::725c94ef-d051-42d7-9d33-8572765d592b" providerId="AD" clId="Web-{9DE0ADE9-A0A8-D2EA-1EF2-AD3C089DDA7A}" dt="2023-10-19T17:14:34.307" v="16"/>
        <pc:sldMkLst>
          <pc:docMk/>
          <pc:sldMk cId="4105287340" sldId="463"/>
        </pc:sldMkLst>
      </pc:sldChg>
      <pc:sldChg chg="del">
        <pc:chgData name="Eileen Fleming Suse" userId="S::efs3844@ads.northwestern.edu::725c94ef-d051-42d7-9d33-8572765d592b" providerId="AD" clId="Web-{9DE0ADE9-A0A8-D2EA-1EF2-AD3C089DDA7A}" dt="2023-10-19T17:14:38.463" v="21"/>
        <pc:sldMkLst>
          <pc:docMk/>
          <pc:sldMk cId="1189510057" sldId="464"/>
        </pc:sldMkLst>
      </pc:sldChg>
      <pc:sldChg chg="del">
        <pc:chgData name="Eileen Fleming Suse" userId="S::efs3844@ads.northwestern.edu::725c94ef-d051-42d7-9d33-8572765d592b" providerId="AD" clId="Web-{9DE0ADE9-A0A8-D2EA-1EF2-AD3C089DDA7A}" dt="2023-10-19T17:20:33.303" v="152"/>
        <pc:sldMkLst>
          <pc:docMk/>
          <pc:sldMk cId="343871943" sldId="465"/>
        </pc:sldMkLst>
      </pc:sldChg>
      <pc:sldChg chg="del">
        <pc:chgData name="Eileen Fleming Suse" userId="S::efs3844@ads.northwestern.edu::725c94ef-d051-42d7-9d33-8572765d592b" providerId="AD" clId="Web-{9DE0ADE9-A0A8-D2EA-1EF2-AD3C089DDA7A}" dt="2023-10-19T17:14:31.541" v="13"/>
        <pc:sldMkLst>
          <pc:docMk/>
          <pc:sldMk cId="3919580005" sldId="524"/>
        </pc:sldMkLst>
      </pc:sldChg>
      <pc:sldChg chg="del">
        <pc:chgData name="Eileen Fleming Suse" userId="S::efs3844@ads.northwestern.edu::725c94ef-d051-42d7-9d33-8572765d592b" providerId="AD" clId="Web-{9DE0ADE9-A0A8-D2EA-1EF2-AD3C089DDA7A}" dt="2023-10-19T17:14:55.573" v="51"/>
        <pc:sldMkLst>
          <pc:docMk/>
          <pc:sldMk cId="2681042564" sldId="539"/>
        </pc:sldMkLst>
      </pc:sldChg>
      <pc:sldChg chg="del">
        <pc:chgData name="Eileen Fleming Suse" userId="S::efs3844@ads.northwestern.edu::725c94ef-d051-42d7-9d33-8572765d592b" providerId="AD" clId="Web-{9DE0ADE9-A0A8-D2EA-1EF2-AD3C089DDA7A}" dt="2023-10-19T17:14:49.120" v="32"/>
        <pc:sldMkLst>
          <pc:docMk/>
          <pc:sldMk cId="135391450" sldId="540"/>
        </pc:sldMkLst>
      </pc:sldChg>
      <pc:sldChg chg="del">
        <pc:chgData name="Eileen Fleming Suse" userId="S::efs3844@ads.northwestern.edu::725c94ef-d051-42d7-9d33-8572765d592b" providerId="AD" clId="Web-{9DE0ADE9-A0A8-D2EA-1EF2-AD3C089DDA7A}" dt="2023-10-19T17:14:55.417" v="36"/>
        <pc:sldMkLst>
          <pc:docMk/>
          <pc:sldMk cId="4191297091" sldId="541"/>
        </pc:sldMkLst>
      </pc:sldChg>
      <pc:sldChg chg="del">
        <pc:chgData name="Eileen Fleming Suse" userId="S::efs3844@ads.northwestern.edu::725c94ef-d051-42d7-9d33-8572765d592b" providerId="AD" clId="Web-{9DE0ADE9-A0A8-D2EA-1EF2-AD3C089DDA7A}" dt="2023-10-19T17:14:55.417" v="34"/>
        <pc:sldMkLst>
          <pc:docMk/>
          <pc:sldMk cId="2724813039" sldId="542"/>
        </pc:sldMkLst>
      </pc:sldChg>
      <pc:sldChg chg="del">
        <pc:chgData name="Eileen Fleming Suse" userId="S::efs3844@ads.northwestern.edu::725c94ef-d051-42d7-9d33-8572765d592b" providerId="AD" clId="Web-{9DE0ADE9-A0A8-D2EA-1EF2-AD3C089DDA7A}" dt="2023-10-19T17:22:12.181" v="194"/>
        <pc:sldMkLst>
          <pc:docMk/>
          <pc:sldMk cId="2874996303" sldId="543"/>
        </pc:sldMkLst>
      </pc:sldChg>
      <pc:sldChg chg="modSp new">
        <pc:chgData name="Eileen Fleming Suse" userId="S::efs3844@ads.northwestern.edu::725c94ef-d051-42d7-9d33-8572765d592b" providerId="AD" clId="Web-{9DE0ADE9-A0A8-D2EA-1EF2-AD3C089DDA7A}" dt="2023-10-19T17:20:46.975" v="157" actId="20577"/>
        <pc:sldMkLst>
          <pc:docMk/>
          <pc:sldMk cId="2351229145" sldId="544"/>
        </pc:sldMkLst>
        <pc:spChg chg="mod">
          <ac:chgData name="Eileen Fleming Suse" userId="S::efs3844@ads.northwestern.edu::725c94ef-d051-42d7-9d33-8572765d592b" providerId="AD" clId="Web-{9DE0ADE9-A0A8-D2EA-1EF2-AD3C089DDA7A}" dt="2023-10-19T17:20:46.975" v="157" actId="20577"/>
          <ac:spMkLst>
            <pc:docMk/>
            <pc:sldMk cId="2351229145" sldId="544"/>
            <ac:spMk id="2" creationId="{545C7D6E-31BC-C716-C845-E52002A3A9B8}"/>
          </ac:spMkLst>
        </pc:spChg>
      </pc:sldChg>
      <pc:sldChg chg="modSp new">
        <pc:chgData name="Eileen Fleming Suse" userId="S::efs3844@ads.northwestern.edu::725c94ef-d051-42d7-9d33-8572765d592b" providerId="AD" clId="Web-{9DE0ADE9-A0A8-D2EA-1EF2-AD3C089DDA7A}" dt="2023-10-19T17:31:31.308" v="221" actId="20577"/>
        <pc:sldMkLst>
          <pc:docMk/>
          <pc:sldMk cId="3635595752" sldId="545"/>
        </pc:sldMkLst>
        <pc:spChg chg="mod">
          <ac:chgData name="Eileen Fleming Suse" userId="S::efs3844@ads.northwestern.edu::725c94ef-d051-42d7-9d33-8572765d592b" providerId="AD" clId="Web-{9DE0ADE9-A0A8-D2EA-1EF2-AD3C089DDA7A}" dt="2023-10-19T17:31:31.308" v="221" actId="20577"/>
          <ac:spMkLst>
            <pc:docMk/>
            <pc:sldMk cId="3635595752" sldId="545"/>
            <ac:spMk id="2" creationId="{39AAB3FF-760A-B654-5F1B-78AD5BEB6B57}"/>
          </ac:spMkLst>
        </pc:spChg>
      </pc:sldChg>
      <pc:sldChg chg="modSp new">
        <pc:chgData name="Eileen Fleming Suse" userId="S::efs3844@ads.northwestern.edu::725c94ef-d051-42d7-9d33-8572765d592b" providerId="AD" clId="Web-{9DE0ADE9-A0A8-D2EA-1EF2-AD3C089DDA7A}" dt="2023-10-19T17:21:35.383" v="174" actId="20577"/>
        <pc:sldMkLst>
          <pc:docMk/>
          <pc:sldMk cId="1036043289" sldId="546"/>
        </pc:sldMkLst>
        <pc:spChg chg="mod">
          <ac:chgData name="Eileen Fleming Suse" userId="S::efs3844@ads.northwestern.edu::725c94ef-d051-42d7-9d33-8572765d592b" providerId="AD" clId="Web-{9DE0ADE9-A0A8-D2EA-1EF2-AD3C089DDA7A}" dt="2023-10-19T17:21:35.383" v="174" actId="20577"/>
          <ac:spMkLst>
            <pc:docMk/>
            <pc:sldMk cId="1036043289" sldId="546"/>
            <ac:spMk id="2" creationId="{67E16CF5-47C8-BEAD-25F8-81514DC0AF8B}"/>
          </ac:spMkLst>
        </pc:spChg>
      </pc:sldChg>
      <pc:sldChg chg="modSp new">
        <pc:chgData name="Eileen Fleming Suse" userId="S::efs3844@ads.northwestern.edu::725c94ef-d051-42d7-9d33-8572765d592b" providerId="AD" clId="Web-{9DE0ADE9-A0A8-D2EA-1EF2-AD3C089DDA7A}" dt="2023-10-19T17:21:45.039" v="180" actId="20577"/>
        <pc:sldMkLst>
          <pc:docMk/>
          <pc:sldMk cId="4024842338" sldId="547"/>
        </pc:sldMkLst>
        <pc:spChg chg="mod">
          <ac:chgData name="Eileen Fleming Suse" userId="S::efs3844@ads.northwestern.edu::725c94ef-d051-42d7-9d33-8572765d592b" providerId="AD" clId="Web-{9DE0ADE9-A0A8-D2EA-1EF2-AD3C089DDA7A}" dt="2023-10-19T17:21:45.039" v="180" actId="20577"/>
          <ac:spMkLst>
            <pc:docMk/>
            <pc:sldMk cId="4024842338" sldId="547"/>
            <ac:spMk id="2" creationId="{D3E8E3F8-686B-F051-66F8-5F0BEC66ED61}"/>
          </ac:spMkLst>
        </pc:spChg>
      </pc:sldChg>
      <pc:sldChg chg="modSp new">
        <pc:chgData name="Eileen Fleming Suse" userId="S::efs3844@ads.northwestern.edu::725c94ef-d051-42d7-9d33-8572765d592b" providerId="AD" clId="Web-{9DE0ADE9-A0A8-D2EA-1EF2-AD3C089DDA7A}" dt="2023-10-19T17:21:59.868" v="193" actId="20577"/>
        <pc:sldMkLst>
          <pc:docMk/>
          <pc:sldMk cId="3745706804" sldId="548"/>
        </pc:sldMkLst>
        <pc:spChg chg="mod">
          <ac:chgData name="Eileen Fleming Suse" userId="S::efs3844@ads.northwestern.edu::725c94ef-d051-42d7-9d33-8572765d592b" providerId="AD" clId="Web-{9DE0ADE9-A0A8-D2EA-1EF2-AD3C089DDA7A}" dt="2023-10-19T17:21:59.868" v="193" actId="20577"/>
          <ac:spMkLst>
            <pc:docMk/>
            <pc:sldMk cId="3745706804" sldId="548"/>
            <ac:spMk id="2" creationId="{C2B429CC-FC8C-ECA7-15C8-7563C27BFB95}"/>
          </ac:spMkLst>
        </pc:spChg>
      </pc:sldChg>
      <pc:sldChg chg="modSp new">
        <pc:chgData name="Eileen Fleming Suse" userId="S::efs3844@ads.northwestern.edu::725c94ef-d051-42d7-9d33-8572765d592b" providerId="AD" clId="Web-{9DE0ADE9-A0A8-D2EA-1EF2-AD3C089DDA7A}" dt="2023-10-19T17:22:57.260" v="218" actId="20577"/>
        <pc:sldMkLst>
          <pc:docMk/>
          <pc:sldMk cId="3962270618" sldId="549"/>
        </pc:sldMkLst>
        <pc:spChg chg="mod">
          <ac:chgData name="Eileen Fleming Suse" userId="S::efs3844@ads.northwestern.edu::725c94ef-d051-42d7-9d33-8572765d592b" providerId="AD" clId="Web-{9DE0ADE9-A0A8-D2EA-1EF2-AD3C089DDA7A}" dt="2023-10-19T17:22:57.260" v="218" actId="20577"/>
          <ac:spMkLst>
            <pc:docMk/>
            <pc:sldMk cId="3962270618" sldId="549"/>
            <ac:spMk id="2" creationId="{D2A51686-B2DC-CDBE-63AE-C97B6B0DBD66}"/>
          </ac:spMkLst>
        </pc:spChg>
      </pc:sldChg>
      <pc:sldChg chg="add">
        <pc:chgData name="Eileen Fleming Suse" userId="S::efs3844@ads.northwestern.edu::725c94ef-d051-42d7-9d33-8572765d592b" providerId="AD" clId="Web-{9DE0ADE9-A0A8-D2EA-1EF2-AD3C089DDA7A}" dt="2023-10-19T17:41:57.671" v="222"/>
        <pc:sldMkLst>
          <pc:docMk/>
          <pc:sldMk cId="3472964082" sldId="550"/>
        </pc:sldMkLst>
      </pc:sldChg>
      <pc:sldChg chg="add">
        <pc:chgData name="Eileen Fleming Suse" userId="S::efs3844@ads.northwestern.edu::725c94ef-d051-42d7-9d33-8572765d592b" providerId="AD" clId="Web-{9DE0ADE9-A0A8-D2EA-1EF2-AD3C089DDA7A}" dt="2023-10-19T17:41:58.437" v="223"/>
        <pc:sldMkLst>
          <pc:docMk/>
          <pc:sldMk cId="2562283095" sldId="551"/>
        </pc:sldMkLst>
      </pc:sldChg>
      <pc:sldMasterChg chg="add addSldLayout">
        <pc:chgData name="Eileen Fleming Suse" userId="S::efs3844@ads.northwestern.edu::725c94ef-d051-42d7-9d33-8572765d592b" providerId="AD" clId="Web-{9DE0ADE9-A0A8-D2EA-1EF2-AD3C089DDA7A}" dt="2023-10-19T17:41:57.671" v="222"/>
        <pc:sldMasterMkLst>
          <pc:docMk/>
          <pc:sldMasterMk cId="0" sldId="2147483648"/>
        </pc:sldMasterMkLst>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49"/>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0"/>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1"/>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2"/>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3"/>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4"/>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5"/>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6"/>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7"/>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8"/>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9"/>
          </pc:sldLayoutMkLst>
        </pc:sldLayoutChg>
      </pc:sldMasterChg>
    </pc:docChg>
  </pc:docChgLst>
  <pc:docChgLst>
    <pc:chgData name="Eileen Fleming Suse" userId="S::efs3844@ads.northwestern.edu::725c94ef-d051-42d7-9d33-8572765d592b" providerId="AD" clId="Web-{C766F19B-0830-AB8B-3618-23EF0AC64A24}"/>
    <pc:docChg chg="modSld">
      <pc:chgData name="Eileen Fleming Suse" userId="S::efs3844@ads.northwestern.edu::725c94ef-d051-42d7-9d33-8572765d592b" providerId="AD" clId="Web-{C766F19B-0830-AB8B-3618-23EF0AC64A24}" dt="2023-10-30T15:49:33.394" v="37"/>
      <pc:docMkLst>
        <pc:docMk/>
      </pc:docMkLst>
      <pc:sldChg chg="addSp delSp modSp">
        <pc:chgData name="Eileen Fleming Suse" userId="S::efs3844@ads.northwestern.edu::725c94ef-d051-42d7-9d33-8572765d592b" providerId="AD" clId="Web-{C766F19B-0830-AB8B-3618-23EF0AC64A24}" dt="2023-10-30T15:49:33.394" v="37"/>
        <pc:sldMkLst>
          <pc:docMk/>
          <pc:sldMk cId="3472964082" sldId="550"/>
        </pc:sldMkLst>
        <pc:spChg chg="mod">
          <ac:chgData name="Eileen Fleming Suse" userId="S::efs3844@ads.northwestern.edu::725c94ef-d051-42d7-9d33-8572765d592b" providerId="AD" clId="Web-{C766F19B-0830-AB8B-3618-23EF0AC64A24}" dt="2023-10-30T15:48:12.563" v="25" actId="20577"/>
          <ac:spMkLst>
            <pc:docMk/>
            <pc:sldMk cId="3472964082" sldId="550"/>
            <ac:spMk id="20" creationId="{00000000-0000-0000-0000-000000000000}"/>
          </ac:spMkLst>
        </pc:spChg>
        <pc:spChg chg="del">
          <ac:chgData name="Eileen Fleming Suse" userId="S::efs3844@ads.northwestern.edu::725c94ef-d051-42d7-9d33-8572765d592b" providerId="AD" clId="Web-{C766F19B-0830-AB8B-3618-23EF0AC64A24}" dt="2023-10-30T15:48:44.971" v="28"/>
          <ac:spMkLst>
            <pc:docMk/>
            <pc:sldMk cId="3472964082" sldId="550"/>
            <ac:spMk id="21" creationId="{00000000-0000-0000-0000-000000000000}"/>
          </ac:spMkLst>
        </pc:spChg>
        <pc:spChg chg="mod">
          <ac:chgData name="Eileen Fleming Suse" userId="S::efs3844@ads.northwestern.edu::725c94ef-d051-42d7-9d33-8572765d592b" providerId="AD" clId="Web-{C766F19B-0830-AB8B-3618-23EF0AC64A24}" dt="2023-10-30T15:48:45.111" v="30" actId="20577"/>
          <ac:spMkLst>
            <pc:docMk/>
            <pc:sldMk cId="3472964082" sldId="550"/>
            <ac:spMk id="23" creationId="{00000000-0000-0000-0000-000000000000}"/>
          </ac:spMkLst>
        </pc:spChg>
        <pc:spChg chg="del">
          <ac:chgData name="Eileen Fleming Suse" userId="S::efs3844@ads.northwestern.edu::725c94ef-d051-42d7-9d33-8572765d592b" providerId="AD" clId="Web-{C766F19B-0830-AB8B-3618-23EF0AC64A24}" dt="2023-10-30T15:48:45.330" v="31"/>
          <ac:spMkLst>
            <pc:docMk/>
            <pc:sldMk cId="3472964082" sldId="550"/>
            <ac:spMk id="24" creationId="{00000000-0000-0000-0000-000000000000}"/>
          </ac:spMkLst>
        </pc:spChg>
        <pc:spChg chg="add del">
          <ac:chgData name="Eileen Fleming Suse" userId="S::efs3844@ads.northwestern.edu::725c94ef-d051-42d7-9d33-8572765d592b" providerId="AD" clId="Web-{C766F19B-0830-AB8B-3618-23EF0AC64A24}" dt="2023-10-30T15:49:33.394" v="37"/>
          <ac:spMkLst>
            <pc:docMk/>
            <pc:sldMk cId="3472964082" sldId="550"/>
            <ac:spMk id="31" creationId="{00000000-0000-0000-0000-000000000000}"/>
          </ac:spMkLst>
        </pc:spChg>
        <pc:spChg chg="mod">
          <ac:chgData name="Eileen Fleming Suse" userId="S::efs3844@ads.northwestern.edu::725c94ef-d051-42d7-9d33-8572765d592b" providerId="AD" clId="Web-{C766F19B-0830-AB8B-3618-23EF0AC64A24}" dt="2023-10-30T15:48:22.704" v="26" actId="20577"/>
          <ac:spMkLst>
            <pc:docMk/>
            <pc:sldMk cId="3472964082" sldId="550"/>
            <ac:spMk id="51" creationId="{00000000-0000-0000-0000-000000000000}"/>
          </ac:spMkLst>
        </pc:spChg>
        <pc:spChg chg="del">
          <ac:chgData name="Eileen Fleming Suse" userId="S::efs3844@ads.northwestern.edu::725c94ef-d051-42d7-9d33-8572765d592b" providerId="AD" clId="Web-{C766F19B-0830-AB8B-3618-23EF0AC64A24}" dt="2023-10-30T15:48:34.767" v="27"/>
          <ac:spMkLst>
            <pc:docMk/>
            <pc:sldMk cId="3472964082" sldId="550"/>
            <ac:spMk id="52" creationId="{00000000-0000-0000-0000-000000000000}"/>
          </ac:spMkLst>
        </pc:spChg>
        <pc:spChg chg="mod">
          <ac:chgData name="Eileen Fleming Suse" userId="S::efs3844@ads.northwestern.edu::725c94ef-d051-42d7-9d33-8572765d592b" providerId="AD" clId="Web-{C766F19B-0830-AB8B-3618-23EF0AC64A24}" dt="2023-10-30T15:49:04.456" v="33" actId="20577"/>
          <ac:spMkLst>
            <pc:docMk/>
            <pc:sldMk cId="3472964082" sldId="550"/>
            <ac:spMk id="53" creationId="{00000000-0000-0000-0000-000000000000}"/>
          </ac:spMkLst>
        </pc:spChg>
        <pc:spChg chg="del mod">
          <ac:chgData name="Eileen Fleming Suse" userId="S::efs3844@ads.northwestern.edu::725c94ef-d051-42d7-9d33-8572765d592b" providerId="AD" clId="Web-{C766F19B-0830-AB8B-3618-23EF0AC64A24}" dt="2023-10-30T15:49:33.300" v="35"/>
          <ac:spMkLst>
            <pc:docMk/>
            <pc:sldMk cId="3472964082" sldId="550"/>
            <ac:spMk id="54" creationId="{00000000-0000-0000-0000-000000000000}"/>
          </ac:spMkLst>
        </pc:spChg>
      </pc:sldChg>
      <pc:sldChg chg="addSp delSp modSp">
        <pc:chgData name="Eileen Fleming Suse" userId="S::efs3844@ads.northwestern.edu::725c94ef-d051-42d7-9d33-8572765d592b" providerId="AD" clId="Web-{C766F19B-0830-AB8B-3618-23EF0AC64A24}" dt="2023-10-30T15:48:02.782" v="23"/>
        <pc:sldMkLst>
          <pc:docMk/>
          <pc:sldMk cId="2562283095" sldId="551"/>
        </pc:sldMkLst>
        <pc:spChg chg="mod">
          <ac:chgData name="Eileen Fleming Suse" userId="S::efs3844@ads.northwestern.edu::725c94ef-d051-42d7-9d33-8572765d592b" providerId="AD" clId="Web-{C766F19B-0830-AB8B-3618-23EF0AC64A24}" dt="2023-10-30T15:46:33.904" v="3" actId="20577"/>
          <ac:spMkLst>
            <pc:docMk/>
            <pc:sldMk cId="2562283095" sldId="551"/>
            <ac:spMk id="20" creationId="{00000000-0000-0000-0000-000000000000}"/>
          </ac:spMkLst>
        </pc:spChg>
        <pc:spChg chg="del">
          <ac:chgData name="Eileen Fleming Suse" userId="S::efs3844@ads.northwestern.edu::725c94ef-d051-42d7-9d33-8572765d592b" providerId="AD" clId="Web-{C766F19B-0830-AB8B-3618-23EF0AC64A24}" dt="2023-10-30T15:46:34.139" v="4"/>
          <ac:spMkLst>
            <pc:docMk/>
            <pc:sldMk cId="2562283095" sldId="551"/>
            <ac:spMk id="21" creationId="{00000000-0000-0000-0000-000000000000}"/>
          </ac:spMkLst>
        </pc:spChg>
        <pc:spChg chg="mod">
          <ac:chgData name="Eileen Fleming Suse" userId="S::efs3844@ads.northwestern.edu::725c94ef-d051-42d7-9d33-8572765d592b" providerId="AD" clId="Web-{C766F19B-0830-AB8B-3618-23EF0AC64A24}" dt="2023-10-30T15:46:45.264" v="13" actId="20577"/>
          <ac:spMkLst>
            <pc:docMk/>
            <pc:sldMk cId="2562283095" sldId="551"/>
            <ac:spMk id="23" creationId="{00000000-0000-0000-0000-000000000000}"/>
          </ac:spMkLst>
        </pc:spChg>
        <pc:spChg chg="add del mod">
          <ac:chgData name="Eileen Fleming Suse" userId="S::efs3844@ads.northwestern.edu::725c94ef-d051-42d7-9d33-8572765d592b" providerId="AD" clId="Web-{C766F19B-0830-AB8B-3618-23EF0AC64A24}" dt="2023-10-30T15:47:13.812" v="15"/>
          <ac:spMkLst>
            <pc:docMk/>
            <pc:sldMk cId="2562283095" sldId="551"/>
            <ac:spMk id="24" creationId="{00000000-0000-0000-0000-000000000000}"/>
          </ac:spMkLst>
        </pc:spChg>
        <pc:spChg chg="mod">
          <ac:chgData name="Eileen Fleming Suse" userId="S::efs3844@ads.northwestern.edu::725c94ef-d051-42d7-9d33-8572765d592b" providerId="AD" clId="Web-{C766F19B-0830-AB8B-3618-23EF0AC64A24}" dt="2023-10-30T15:47:42.781" v="22" actId="20577"/>
          <ac:spMkLst>
            <pc:docMk/>
            <pc:sldMk cId="2562283095" sldId="551"/>
            <ac:spMk id="31" creationId="{00000000-0000-0000-0000-000000000000}"/>
          </ac:spMkLst>
        </pc:spChg>
        <pc:spChg chg="del">
          <ac:chgData name="Eileen Fleming Suse" userId="S::efs3844@ads.northwestern.edu::725c94ef-d051-42d7-9d33-8572765d592b" providerId="AD" clId="Web-{C766F19B-0830-AB8B-3618-23EF0AC64A24}" dt="2023-10-30T15:48:02.782" v="23"/>
          <ac:spMkLst>
            <pc:docMk/>
            <pc:sldMk cId="2562283095" sldId="551"/>
            <ac:spMk id="32" creationId="{00000000-0000-0000-0000-000000000000}"/>
          </ac:spMkLst>
        </pc:spChg>
        <pc:spChg chg="mod">
          <ac:chgData name="Eileen Fleming Suse" userId="S::efs3844@ads.northwestern.edu::725c94ef-d051-42d7-9d33-8572765d592b" providerId="AD" clId="Web-{C766F19B-0830-AB8B-3618-23EF0AC64A24}" dt="2023-10-30T15:46:34.373" v="6" actId="20577"/>
          <ac:spMkLst>
            <pc:docMk/>
            <pc:sldMk cId="2562283095" sldId="551"/>
            <ac:spMk id="51" creationId="{00000000-0000-0000-0000-000000000000}"/>
          </ac:spMkLst>
        </pc:spChg>
        <pc:spChg chg="del">
          <ac:chgData name="Eileen Fleming Suse" userId="S::efs3844@ads.northwestern.edu::725c94ef-d051-42d7-9d33-8572765d592b" providerId="AD" clId="Web-{C766F19B-0830-AB8B-3618-23EF0AC64A24}" dt="2023-10-30T15:46:34.482" v="7"/>
          <ac:spMkLst>
            <pc:docMk/>
            <pc:sldMk cId="2562283095" sldId="551"/>
            <ac:spMk id="52" creationId="{00000000-0000-0000-0000-000000000000}"/>
          </ac:spMkLst>
        </pc:spChg>
        <pc:spChg chg="mod">
          <ac:chgData name="Eileen Fleming Suse" userId="S::efs3844@ads.northwestern.edu::725c94ef-d051-42d7-9d33-8572765d592b" providerId="AD" clId="Web-{C766F19B-0830-AB8B-3618-23EF0AC64A24}" dt="2023-10-30T15:47:14.015" v="18" actId="20577"/>
          <ac:spMkLst>
            <pc:docMk/>
            <pc:sldMk cId="2562283095" sldId="551"/>
            <ac:spMk id="53" creationId="{00000000-0000-0000-0000-000000000000}"/>
          </ac:spMkLst>
        </pc:spChg>
        <pc:spChg chg="del">
          <ac:chgData name="Eileen Fleming Suse" userId="S::efs3844@ads.northwestern.edu::725c94ef-d051-42d7-9d33-8572765d592b" providerId="AD" clId="Web-{C766F19B-0830-AB8B-3618-23EF0AC64A24}" dt="2023-10-30T15:47:33.031" v="19"/>
          <ac:spMkLst>
            <pc:docMk/>
            <pc:sldMk cId="2562283095" sldId="551"/>
            <ac:spMk id="54" creationId="{00000000-0000-0000-0000-000000000000}"/>
          </ac:spMkLst>
        </pc:spChg>
      </pc:sldChg>
    </pc:docChg>
  </pc:docChgLst>
  <pc:docChgLst>
    <pc:chgData name="Eileen Fleming Suse" userId="S::efs3844@ads.northwestern.edu::725c94ef-d051-42d7-9d33-8572765d592b" providerId="AD" clId="Web-{27D417B1-AC1D-5613-774C-09BCD51B442A}"/>
    <pc:docChg chg="addSld delSld modSld sldOrd">
      <pc:chgData name="Eileen Fleming Suse" userId="S::efs3844@ads.northwestern.edu::725c94ef-d051-42d7-9d33-8572765d592b" providerId="AD" clId="Web-{27D417B1-AC1D-5613-774C-09BCD51B442A}" dt="2023-11-20T15:57:10.100" v="150" actId="20577"/>
      <pc:docMkLst>
        <pc:docMk/>
      </pc:docMkLst>
      <pc:sldChg chg="modSp">
        <pc:chgData name="Eileen Fleming Suse" userId="S::efs3844@ads.northwestern.edu::725c94ef-d051-42d7-9d33-8572765d592b" providerId="AD" clId="Web-{27D417B1-AC1D-5613-774C-09BCD51B442A}" dt="2023-11-20T15:49:46.887" v="131" actId="20577"/>
        <pc:sldMkLst>
          <pc:docMk/>
          <pc:sldMk cId="4044691067" sldId="283"/>
        </pc:sldMkLst>
        <pc:spChg chg="mod">
          <ac:chgData name="Eileen Fleming Suse" userId="S::efs3844@ads.northwestern.edu::725c94ef-d051-42d7-9d33-8572765d592b" providerId="AD" clId="Web-{27D417B1-AC1D-5613-774C-09BCD51B442A}" dt="2023-11-20T15:49:46.887" v="131"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27D417B1-AC1D-5613-774C-09BCD51B442A}" dt="2023-11-20T15:38:26.622" v="125" actId="1076"/>
        <pc:sldMkLst>
          <pc:docMk/>
          <pc:sldMk cId="97208790" sldId="723"/>
        </pc:sldMkLst>
        <pc:spChg chg="mod">
          <ac:chgData name="Eileen Fleming Suse" userId="S::efs3844@ads.northwestern.edu::725c94ef-d051-42d7-9d33-8572765d592b" providerId="AD" clId="Web-{27D417B1-AC1D-5613-774C-09BCD51B442A}" dt="2023-11-20T15:38:26.622" v="125" actId="1076"/>
          <ac:spMkLst>
            <pc:docMk/>
            <pc:sldMk cId="97208790" sldId="723"/>
            <ac:spMk id="8" creationId="{24CD5883-74F0-901B-1AE1-A53D4170658C}"/>
          </ac:spMkLst>
        </pc:spChg>
        <pc:spChg chg="mod">
          <ac:chgData name="Eileen Fleming Suse" userId="S::efs3844@ads.northwestern.edu::725c94ef-d051-42d7-9d33-8572765d592b" providerId="AD" clId="Web-{27D417B1-AC1D-5613-774C-09BCD51B442A}" dt="2023-11-20T15:38:26.575" v="124" actId="1076"/>
          <ac:spMkLst>
            <pc:docMk/>
            <pc:sldMk cId="97208790" sldId="723"/>
            <ac:spMk id="10" creationId="{8BCC0F5C-3791-38AB-6A34-E5D5FCAACFCB}"/>
          </ac:spMkLst>
        </pc:spChg>
      </pc:sldChg>
      <pc:sldChg chg="modSp">
        <pc:chgData name="Eileen Fleming Suse" userId="S::efs3844@ads.northwestern.edu::725c94ef-d051-42d7-9d33-8572765d592b" providerId="AD" clId="Web-{27D417B1-AC1D-5613-774C-09BCD51B442A}" dt="2023-11-20T15:48:31.322" v="126" actId="14100"/>
        <pc:sldMkLst>
          <pc:docMk/>
          <pc:sldMk cId="1390059426" sldId="726"/>
        </pc:sldMkLst>
        <pc:spChg chg="mod">
          <ac:chgData name="Eileen Fleming Suse" userId="S::efs3844@ads.northwestern.edu::725c94ef-d051-42d7-9d33-8572765d592b" providerId="AD" clId="Web-{27D417B1-AC1D-5613-774C-09BCD51B442A}" dt="2023-11-20T15:48:31.322" v="126" actId="14100"/>
          <ac:spMkLst>
            <pc:docMk/>
            <pc:sldMk cId="1390059426" sldId="726"/>
            <ac:spMk id="19" creationId="{F49C1F1A-614A-5749-1A3F-78980B65ADBC}"/>
          </ac:spMkLst>
        </pc:spChg>
        <pc:spChg chg="mod">
          <ac:chgData name="Eileen Fleming Suse" userId="S::efs3844@ads.northwestern.edu::725c94ef-d051-42d7-9d33-8572765d592b" providerId="AD" clId="Web-{27D417B1-AC1D-5613-774C-09BCD51B442A}" dt="2023-11-20T15:37:53.512" v="121" actId="20577"/>
          <ac:spMkLst>
            <pc:docMk/>
            <pc:sldMk cId="1390059426" sldId="726"/>
            <ac:spMk id="25" creationId="{6DD46D80-F576-4F56-C047-1645F85E88F8}"/>
          </ac:spMkLst>
        </pc:spChg>
        <pc:spChg chg="mod">
          <ac:chgData name="Eileen Fleming Suse" userId="S::efs3844@ads.northwestern.edu::725c94ef-d051-42d7-9d33-8572765d592b" providerId="AD" clId="Web-{27D417B1-AC1D-5613-774C-09BCD51B442A}" dt="2023-11-20T15:38:04.715" v="123" actId="20577"/>
          <ac:spMkLst>
            <pc:docMk/>
            <pc:sldMk cId="1390059426" sldId="726"/>
            <ac:spMk id="26" creationId="{585B113D-37B0-A626-E412-E3D462910528}"/>
          </ac:spMkLst>
        </pc:spChg>
      </pc:sldChg>
      <pc:sldChg chg="modSp">
        <pc:chgData name="Eileen Fleming Suse" userId="S::efs3844@ads.northwestern.edu::725c94ef-d051-42d7-9d33-8572765d592b" providerId="AD" clId="Web-{27D417B1-AC1D-5613-774C-09BCD51B442A}" dt="2023-11-20T15:48:42.401" v="127" actId="14100"/>
        <pc:sldMkLst>
          <pc:docMk/>
          <pc:sldMk cId="3339906105" sldId="727"/>
        </pc:sldMkLst>
        <pc:spChg chg="mod">
          <ac:chgData name="Eileen Fleming Suse" userId="S::efs3844@ads.northwestern.edu::725c94ef-d051-42d7-9d33-8572765d592b" providerId="AD" clId="Web-{27D417B1-AC1D-5613-774C-09BCD51B442A}" dt="2023-11-20T15:48:42.401" v="127" actId="14100"/>
          <ac:spMkLst>
            <pc:docMk/>
            <pc:sldMk cId="3339906105" sldId="727"/>
            <ac:spMk id="19" creationId="{F49C1F1A-614A-5749-1A3F-78980B65ADBC}"/>
          </ac:spMkLst>
        </pc:spChg>
        <pc:spChg chg="mod">
          <ac:chgData name="Eileen Fleming Suse" userId="S::efs3844@ads.northwestern.edu::725c94ef-d051-42d7-9d33-8572765d592b" providerId="AD" clId="Web-{27D417B1-AC1D-5613-774C-09BCD51B442A}" dt="2023-11-20T15:37:52.715" v="114" actId="20577"/>
          <ac:spMkLst>
            <pc:docMk/>
            <pc:sldMk cId="3339906105" sldId="727"/>
            <ac:spMk id="25" creationId="{6DD46D80-F576-4F56-C047-1645F85E88F8}"/>
          </ac:spMkLst>
        </pc:spChg>
        <pc:spChg chg="mod">
          <ac:chgData name="Eileen Fleming Suse" userId="S::efs3844@ads.northwestern.edu::725c94ef-d051-42d7-9d33-8572765d592b" providerId="AD" clId="Web-{27D417B1-AC1D-5613-774C-09BCD51B442A}" dt="2023-11-20T15:37:53.230" v="118" actId="20577"/>
          <ac:spMkLst>
            <pc:docMk/>
            <pc:sldMk cId="3339906105" sldId="727"/>
            <ac:spMk id="26" creationId="{585B113D-37B0-A626-E412-E3D462910528}"/>
          </ac:spMkLst>
        </pc:spChg>
      </pc:sldChg>
      <pc:sldChg chg="modSp">
        <pc:chgData name="Eileen Fleming Suse" userId="S::efs3844@ads.northwestern.edu::725c94ef-d051-42d7-9d33-8572765d592b" providerId="AD" clId="Web-{27D417B1-AC1D-5613-774C-09BCD51B442A}" dt="2023-11-20T15:37:42.293" v="112" actId="20577"/>
        <pc:sldMkLst>
          <pc:docMk/>
          <pc:sldMk cId="2917591221" sldId="728"/>
        </pc:sldMkLst>
        <pc:spChg chg="mod">
          <ac:chgData name="Eileen Fleming Suse" userId="S::efs3844@ads.northwestern.edu::725c94ef-d051-42d7-9d33-8572765d592b" providerId="AD" clId="Web-{27D417B1-AC1D-5613-774C-09BCD51B442A}" dt="2023-11-20T15:37:42.293" v="112" actId="20577"/>
          <ac:spMkLst>
            <pc:docMk/>
            <pc:sldMk cId="2917591221" sldId="728"/>
            <ac:spMk id="7" creationId="{9D897086-E6BA-012D-1320-EFFEB9FABF03}"/>
          </ac:spMkLst>
        </pc:spChg>
        <pc:spChg chg="mod">
          <ac:chgData name="Eileen Fleming Suse" userId="S::efs3844@ads.northwestern.edu::725c94ef-d051-42d7-9d33-8572765d592b" providerId="AD" clId="Web-{27D417B1-AC1D-5613-774C-09BCD51B442A}" dt="2023-11-20T15:37:17.620" v="107" actId="14100"/>
          <ac:spMkLst>
            <pc:docMk/>
            <pc:sldMk cId="2917591221" sldId="728"/>
            <ac:spMk id="51" creationId="{2B8C1492-BA4C-5D85-9326-D4D3751E6D7D}"/>
          </ac:spMkLst>
        </pc:spChg>
      </pc:sldChg>
      <pc:sldChg chg="del">
        <pc:chgData name="Eileen Fleming Suse" userId="S::efs3844@ads.northwestern.edu::725c94ef-d051-42d7-9d33-8572765d592b" providerId="AD" clId="Web-{27D417B1-AC1D-5613-774C-09BCD51B442A}" dt="2023-11-20T15:29:53.798" v="2"/>
        <pc:sldMkLst>
          <pc:docMk/>
          <pc:sldMk cId="3917006652" sldId="748"/>
        </pc:sldMkLst>
      </pc:sldChg>
      <pc:sldChg chg="modSp new ord">
        <pc:chgData name="Eileen Fleming Suse" userId="S::efs3844@ads.northwestern.edu::725c94ef-d051-42d7-9d33-8572765d592b" providerId="AD" clId="Web-{27D417B1-AC1D-5613-774C-09BCD51B442A}" dt="2023-11-20T15:36:59.401" v="100" actId="20577"/>
        <pc:sldMkLst>
          <pc:docMk/>
          <pc:sldMk cId="2760953721" sldId="749"/>
        </pc:sldMkLst>
        <pc:spChg chg="mod">
          <ac:chgData name="Eileen Fleming Suse" userId="S::efs3844@ads.northwestern.edu::725c94ef-d051-42d7-9d33-8572765d592b" providerId="AD" clId="Web-{27D417B1-AC1D-5613-774C-09BCD51B442A}" dt="2023-11-20T15:30:08.329" v="5" actId="20577"/>
          <ac:spMkLst>
            <pc:docMk/>
            <pc:sldMk cId="2760953721" sldId="749"/>
            <ac:spMk id="2" creationId="{74AC9D71-8472-37B2-2DA4-37F1220693E5}"/>
          </ac:spMkLst>
        </pc:spChg>
        <pc:spChg chg="mod">
          <ac:chgData name="Eileen Fleming Suse" userId="S::efs3844@ads.northwestern.edu::725c94ef-d051-42d7-9d33-8572765d592b" providerId="AD" clId="Web-{27D417B1-AC1D-5613-774C-09BCD51B442A}" dt="2023-11-20T15:36:59.401" v="100" actId="20577"/>
          <ac:spMkLst>
            <pc:docMk/>
            <pc:sldMk cId="2760953721" sldId="749"/>
            <ac:spMk id="3" creationId="{84541AC5-1E3B-8499-5879-C2F1A0A6D43C}"/>
          </ac:spMkLst>
        </pc:spChg>
      </pc:sldChg>
      <pc:sldChg chg="addSp delSp modSp new mod setBg">
        <pc:chgData name="Eileen Fleming Suse" userId="S::efs3844@ads.northwestern.edu::725c94ef-d051-42d7-9d33-8572765d592b" providerId="AD" clId="Web-{27D417B1-AC1D-5613-774C-09BCD51B442A}" dt="2023-11-20T15:57:10.100" v="150" actId="20577"/>
        <pc:sldMkLst>
          <pc:docMk/>
          <pc:sldMk cId="1123896291" sldId="750"/>
        </pc:sldMkLst>
        <pc:spChg chg="mod">
          <ac:chgData name="Eileen Fleming Suse" userId="S::efs3844@ads.northwestern.edu::725c94ef-d051-42d7-9d33-8572765d592b" providerId="AD" clId="Web-{27D417B1-AC1D-5613-774C-09BCD51B442A}" dt="2023-11-20T15:57:10.100" v="150" actId="20577"/>
          <ac:spMkLst>
            <pc:docMk/>
            <pc:sldMk cId="1123896291" sldId="750"/>
            <ac:spMk id="2" creationId="{4A8D5212-512B-94C8-CCF1-6B6881A37D96}"/>
          </ac:spMkLst>
        </pc:spChg>
        <pc:spChg chg="del">
          <ac:chgData name="Eileen Fleming Suse" userId="S::efs3844@ads.northwestern.edu::725c94ef-d051-42d7-9d33-8572765d592b" providerId="AD" clId="Web-{27D417B1-AC1D-5613-774C-09BCD51B442A}" dt="2023-11-20T15:55:41.535" v="134"/>
          <ac:spMkLst>
            <pc:docMk/>
            <pc:sldMk cId="1123896291" sldId="750"/>
            <ac:spMk id="3" creationId="{2D4DD92E-2259-317A-D4C7-1EEAB44E8B2A}"/>
          </ac:spMkLst>
        </pc:spChg>
        <pc:spChg chg="mod ord">
          <ac:chgData name="Eileen Fleming Suse" userId="S::efs3844@ads.northwestern.edu::725c94ef-d051-42d7-9d33-8572765d592b" providerId="AD" clId="Web-{27D417B1-AC1D-5613-774C-09BCD51B442A}" dt="2023-11-20T15:55:41.535" v="134"/>
          <ac:spMkLst>
            <pc:docMk/>
            <pc:sldMk cId="1123896291" sldId="750"/>
            <ac:spMk id="4" creationId="{8DB75264-273F-4605-2A91-81ECE1A7E3C2}"/>
          </ac:spMkLst>
        </pc:spChg>
        <pc:spChg chg="mod">
          <ac:chgData name="Eileen Fleming Suse" userId="S::efs3844@ads.northwestern.edu::725c94ef-d051-42d7-9d33-8572765d592b" providerId="AD" clId="Web-{27D417B1-AC1D-5613-774C-09BCD51B442A}" dt="2023-11-20T15:55:41.535" v="134"/>
          <ac:spMkLst>
            <pc:docMk/>
            <pc:sldMk cId="1123896291" sldId="750"/>
            <ac:spMk id="5" creationId="{D7979332-6D70-E77E-398C-79FEE378C255}"/>
          </ac:spMkLst>
        </pc:spChg>
        <pc:spChg chg="add">
          <ac:chgData name="Eileen Fleming Suse" userId="S::efs3844@ads.northwestern.edu::725c94ef-d051-42d7-9d33-8572765d592b" providerId="AD" clId="Web-{27D417B1-AC1D-5613-774C-09BCD51B442A}" dt="2023-11-20T15:55:41.535" v="134"/>
          <ac:spMkLst>
            <pc:docMk/>
            <pc:sldMk cId="1123896291" sldId="750"/>
            <ac:spMk id="11" creationId="{0671A8AE-40A1-4631-A6B8-581AFF065482}"/>
          </ac:spMkLst>
        </pc:spChg>
        <pc:spChg chg="add">
          <ac:chgData name="Eileen Fleming Suse" userId="S::efs3844@ads.northwestern.edu::725c94ef-d051-42d7-9d33-8572765d592b" providerId="AD" clId="Web-{27D417B1-AC1D-5613-774C-09BCD51B442A}" dt="2023-11-20T15:55:41.535" v="134"/>
          <ac:spMkLst>
            <pc:docMk/>
            <pc:sldMk cId="1123896291" sldId="750"/>
            <ac:spMk id="13" creationId="{AB58EF07-17C2-48CF-ABB0-EEF1F17CB8F0}"/>
          </ac:spMkLst>
        </pc:spChg>
        <pc:spChg chg="add">
          <ac:chgData name="Eileen Fleming Suse" userId="S::efs3844@ads.northwestern.edu::725c94ef-d051-42d7-9d33-8572765d592b" providerId="AD" clId="Web-{27D417B1-AC1D-5613-774C-09BCD51B442A}" dt="2023-11-20T15:55:41.535" v="134"/>
          <ac:spMkLst>
            <pc:docMk/>
            <pc:sldMk cId="1123896291" sldId="750"/>
            <ac:spMk id="15" creationId="{AF2F604E-43BE-4DC3-B983-E071523364F8}"/>
          </ac:spMkLst>
        </pc:spChg>
        <pc:spChg chg="add">
          <ac:chgData name="Eileen Fleming Suse" userId="S::efs3844@ads.northwestern.edu::725c94ef-d051-42d7-9d33-8572765d592b" providerId="AD" clId="Web-{27D417B1-AC1D-5613-774C-09BCD51B442A}" dt="2023-11-20T15:55:41.535" v="134"/>
          <ac:spMkLst>
            <pc:docMk/>
            <pc:sldMk cId="1123896291" sldId="750"/>
            <ac:spMk id="17" creationId="{08C9B587-E65E-4B52-B37C-ABEBB6E87928}"/>
          </ac:spMkLst>
        </pc:spChg>
        <pc:picChg chg="add">
          <ac:chgData name="Eileen Fleming Suse" userId="S::efs3844@ads.northwestern.edu::725c94ef-d051-42d7-9d33-8572765d592b" providerId="AD" clId="Web-{27D417B1-AC1D-5613-774C-09BCD51B442A}" dt="2023-11-20T15:55:41.535" v="134"/>
          <ac:picMkLst>
            <pc:docMk/>
            <pc:sldMk cId="1123896291" sldId="750"/>
            <ac:picMk id="7" creationId="{3A359654-A2A5-BB69-5A24-18BCC5C338AC}"/>
          </ac:picMkLst>
        </pc:picChg>
      </pc:sldChg>
    </pc:docChg>
  </pc:docChgLst>
  <pc:docChgLst>
    <pc:chgData name="LCaldarelli" userId="S::lcaldarelli_luriechildrens.org#ext#@nuwildcat.onmicrosoft.com::cd79b54d-c14e-4199-a04a-39c6f592e710" providerId="AD" clId="Web-{F448B036-0349-8976-DAC4-88BE6A4E488E}"/>
    <pc:docChg chg="addSld delSld modSld sldOrd">
      <pc:chgData name="LCaldarelli" userId="S::lcaldarelli_luriechildrens.org#ext#@nuwildcat.onmicrosoft.com::cd79b54d-c14e-4199-a04a-39c6f592e710" providerId="AD" clId="Web-{F448B036-0349-8976-DAC4-88BE6A4E488E}" dt="2023-11-20T05:01:58.052" v="316" actId="20577"/>
      <pc:docMkLst>
        <pc:docMk/>
      </pc:docMkLst>
      <pc:sldChg chg="modSp">
        <pc:chgData name="LCaldarelli" userId="S::lcaldarelli_luriechildrens.org#ext#@nuwildcat.onmicrosoft.com::cd79b54d-c14e-4199-a04a-39c6f592e710" providerId="AD" clId="Web-{F448B036-0349-8976-DAC4-88BE6A4E488E}" dt="2023-11-20T04:10:09.055" v="120" actId="1076"/>
        <pc:sldMkLst>
          <pc:docMk/>
          <pc:sldMk cId="3635595752" sldId="545"/>
        </pc:sldMkLst>
        <pc:spChg chg="mod">
          <ac:chgData name="LCaldarelli" userId="S::lcaldarelli_luriechildrens.org#ext#@nuwildcat.onmicrosoft.com::cd79b54d-c14e-4199-a04a-39c6f592e710" providerId="AD" clId="Web-{F448B036-0349-8976-DAC4-88BE6A4E488E}" dt="2023-11-20T04:10:09.055" v="120" actId="1076"/>
          <ac:spMkLst>
            <pc:docMk/>
            <pc:sldMk cId="3635595752" sldId="545"/>
            <ac:spMk id="2" creationId="{39AAB3FF-760A-B654-5F1B-78AD5BEB6B57}"/>
          </ac:spMkLst>
        </pc:spChg>
        <pc:spChg chg="mod">
          <ac:chgData name="LCaldarelli" userId="S::lcaldarelli_luriechildrens.org#ext#@nuwildcat.onmicrosoft.com::cd79b54d-c14e-4199-a04a-39c6f592e710" providerId="AD" clId="Web-{F448B036-0349-8976-DAC4-88BE6A4E488E}" dt="2023-11-20T04:09:59.961" v="119" actId="20577"/>
          <ac:spMkLst>
            <pc:docMk/>
            <pc:sldMk cId="3635595752" sldId="545"/>
            <ac:spMk id="3" creationId="{BFE56240-A306-0E11-425A-7323821A42F2}"/>
          </ac:spMkLst>
        </pc:spChg>
      </pc:sldChg>
      <pc:sldChg chg="modSp">
        <pc:chgData name="LCaldarelli" userId="S::lcaldarelli_luriechildrens.org#ext#@nuwildcat.onmicrosoft.com::cd79b54d-c14e-4199-a04a-39c6f592e710" providerId="AD" clId="Web-{F448B036-0349-8976-DAC4-88BE6A4E488E}" dt="2023-11-20T04:16:18.798" v="149" actId="20577"/>
        <pc:sldMkLst>
          <pc:docMk/>
          <pc:sldMk cId="1036043289" sldId="546"/>
        </pc:sldMkLst>
        <pc:spChg chg="mod">
          <ac:chgData name="LCaldarelli" userId="S::lcaldarelli_luriechildrens.org#ext#@nuwildcat.onmicrosoft.com::cd79b54d-c14e-4199-a04a-39c6f592e710" providerId="AD" clId="Web-{F448B036-0349-8976-DAC4-88BE6A4E488E}" dt="2023-11-20T04:16:18.798" v="149" actId="20577"/>
          <ac:spMkLst>
            <pc:docMk/>
            <pc:sldMk cId="1036043289" sldId="546"/>
            <ac:spMk id="3" creationId="{BACE41BD-1CAE-1299-918F-5B1678DE12B4}"/>
          </ac:spMkLst>
        </pc:spChg>
      </pc:sldChg>
      <pc:sldChg chg="modSp">
        <pc:chgData name="LCaldarelli" userId="S::lcaldarelli_luriechildrens.org#ext#@nuwildcat.onmicrosoft.com::cd79b54d-c14e-4199-a04a-39c6f592e710" providerId="AD" clId="Web-{F448B036-0349-8976-DAC4-88BE6A4E488E}" dt="2023-11-20T04:43:29.776" v="269" actId="20577"/>
        <pc:sldMkLst>
          <pc:docMk/>
          <pc:sldMk cId="3745706804" sldId="548"/>
        </pc:sldMkLst>
        <pc:spChg chg="mod">
          <ac:chgData name="LCaldarelli" userId="S::lcaldarelli_luriechildrens.org#ext#@nuwildcat.onmicrosoft.com::cd79b54d-c14e-4199-a04a-39c6f592e710" providerId="AD" clId="Web-{F448B036-0349-8976-DAC4-88BE6A4E488E}" dt="2023-11-20T04:43:29.776" v="269" actId="20577"/>
          <ac:spMkLst>
            <pc:docMk/>
            <pc:sldMk cId="3745706804" sldId="548"/>
            <ac:spMk id="3" creationId="{C0454086-94BF-0693-766D-F1659194519A}"/>
          </ac:spMkLst>
        </pc:spChg>
      </pc:sldChg>
      <pc:sldChg chg="modSp">
        <pc:chgData name="LCaldarelli" userId="S::lcaldarelli_luriechildrens.org#ext#@nuwildcat.onmicrosoft.com::cd79b54d-c14e-4199-a04a-39c6f592e710" providerId="AD" clId="Web-{F448B036-0349-8976-DAC4-88BE6A4E488E}" dt="2023-11-20T04:15:55.344" v="148" actId="20577"/>
        <pc:sldMkLst>
          <pc:docMk/>
          <pc:sldMk cId="714682852" sldId="552"/>
        </pc:sldMkLst>
        <pc:spChg chg="mod">
          <ac:chgData name="LCaldarelli" userId="S::lcaldarelli_luriechildrens.org#ext#@nuwildcat.onmicrosoft.com::cd79b54d-c14e-4199-a04a-39c6f592e710" providerId="AD" clId="Web-{F448B036-0349-8976-DAC4-88BE6A4E488E}" dt="2023-11-20T04:15:55.344" v="148" actId="20577"/>
          <ac:spMkLst>
            <pc:docMk/>
            <pc:sldMk cId="714682852" sldId="552"/>
            <ac:spMk id="39" creationId="{E29ABAB9-1C54-B808-EDD4-5D83CC77687C}"/>
          </ac:spMkLst>
        </pc:spChg>
        <pc:grpChg chg="mod">
          <ac:chgData name="LCaldarelli" userId="S::lcaldarelli_luriechildrens.org#ext#@nuwildcat.onmicrosoft.com::cd79b54d-c14e-4199-a04a-39c6f592e710" providerId="AD" clId="Web-{F448B036-0349-8976-DAC4-88BE6A4E488E}" dt="2023-11-20T04:15:42.594" v="147" actId="14100"/>
          <ac:grpSpMkLst>
            <pc:docMk/>
            <pc:sldMk cId="714682852" sldId="552"/>
            <ac:grpSpMk id="41" creationId="{61ED38C4-194D-089B-AEF0-A50E211B69E8}"/>
          </ac:grpSpMkLst>
        </pc:grpChg>
      </pc:sldChg>
      <pc:sldChg chg="modSp">
        <pc:chgData name="LCaldarelli" userId="S::lcaldarelli_luriechildrens.org#ext#@nuwildcat.onmicrosoft.com::cd79b54d-c14e-4199-a04a-39c6f592e710" providerId="AD" clId="Web-{F448B036-0349-8976-DAC4-88BE6A4E488E}" dt="2023-11-20T04:58:51.891" v="306" actId="20577"/>
        <pc:sldMkLst>
          <pc:docMk/>
          <pc:sldMk cId="1141815353" sldId="562"/>
        </pc:sldMkLst>
        <pc:spChg chg="mod">
          <ac:chgData name="LCaldarelli" userId="S::lcaldarelli_luriechildrens.org#ext#@nuwildcat.onmicrosoft.com::cd79b54d-c14e-4199-a04a-39c6f592e710" providerId="AD" clId="Web-{F448B036-0349-8976-DAC4-88BE6A4E488E}" dt="2023-11-20T04:58:51.891" v="306" actId="20577"/>
          <ac:spMkLst>
            <pc:docMk/>
            <pc:sldMk cId="1141815353" sldId="562"/>
            <ac:spMk id="360" creationId="{FE59A3A2-BFF2-9772-51D6-9CCB620AEB53}"/>
          </ac:spMkLst>
        </pc:spChg>
      </pc:sldChg>
      <pc:sldChg chg="modSp">
        <pc:chgData name="LCaldarelli" userId="S::lcaldarelli_luriechildrens.org#ext#@nuwildcat.onmicrosoft.com::cd79b54d-c14e-4199-a04a-39c6f592e710" providerId="AD" clId="Web-{F448B036-0349-8976-DAC4-88BE6A4E488E}" dt="2023-11-20T04:20:07.178" v="155" actId="20577"/>
        <pc:sldMkLst>
          <pc:docMk/>
          <pc:sldMk cId="785115983" sldId="578"/>
        </pc:sldMkLst>
        <pc:spChg chg="mod">
          <ac:chgData name="LCaldarelli" userId="S::lcaldarelli_luriechildrens.org#ext#@nuwildcat.onmicrosoft.com::cd79b54d-c14e-4199-a04a-39c6f592e710" providerId="AD" clId="Web-{F448B036-0349-8976-DAC4-88BE6A4E488E}" dt="2023-11-20T04:18:26.192" v="151" actId="20577"/>
          <ac:spMkLst>
            <pc:docMk/>
            <pc:sldMk cId="785115983" sldId="578"/>
            <ac:spMk id="44" creationId="{00000000-0000-0000-0000-000000000000}"/>
          </ac:spMkLst>
        </pc:spChg>
        <pc:spChg chg="mod">
          <ac:chgData name="LCaldarelli" userId="S::lcaldarelli_luriechildrens.org#ext#@nuwildcat.onmicrosoft.com::cd79b54d-c14e-4199-a04a-39c6f592e710" providerId="AD" clId="Web-{F448B036-0349-8976-DAC4-88BE6A4E488E}" dt="2023-11-20T04:20:07.178" v="155" actId="20577"/>
          <ac:spMkLst>
            <pc:docMk/>
            <pc:sldMk cId="785115983" sldId="578"/>
            <ac:spMk id="48" creationId="{00000000-0000-0000-0000-000000000000}"/>
          </ac:spMkLst>
        </pc:spChg>
      </pc:sldChg>
      <pc:sldChg chg="modSp">
        <pc:chgData name="LCaldarelli" userId="S::lcaldarelli_luriechildrens.org#ext#@nuwildcat.onmicrosoft.com::cd79b54d-c14e-4199-a04a-39c6f592e710" providerId="AD" clId="Web-{F448B036-0349-8976-DAC4-88BE6A4E488E}" dt="2023-11-20T04:17:49.409" v="150" actId="20577"/>
        <pc:sldMkLst>
          <pc:docMk/>
          <pc:sldMk cId="4283907660" sldId="580"/>
        </pc:sldMkLst>
        <pc:spChg chg="mod">
          <ac:chgData name="LCaldarelli" userId="S::lcaldarelli_luriechildrens.org#ext#@nuwildcat.onmicrosoft.com::cd79b54d-c14e-4199-a04a-39c6f592e710" providerId="AD" clId="Web-{F448B036-0349-8976-DAC4-88BE6A4E488E}" dt="2023-11-20T04:17:49.409" v="150" actId="20577"/>
          <ac:spMkLst>
            <pc:docMk/>
            <pc:sldMk cId="4283907660" sldId="580"/>
            <ac:spMk id="59" creationId="{00000000-0000-0000-0000-000000000000}"/>
          </ac:spMkLst>
        </pc:spChg>
      </pc:sldChg>
      <pc:sldChg chg="modSp">
        <pc:chgData name="LCaldarelli" userId="S::lcaldarelli_luriechildrens.org#ext#@nuwildcat.onmicrosoft.com::cd79b54d-c14e-4199-a04a-39c6f592e710" providerId="AD" clId="Web-{F448B036-0349-8976-DAC4-88BE6A4E488E}" dt="2023-11-20T04:15:21.797" v="142" actId="20577"/>
        <pc:sldMkLst>
          <pc:docMk/>
          <pc:sldMk cId="3726638559" sldId="616"/>
        </pc:sldMkLst>
        <pc:spChg chg="mod">
          <ac:chgData name="LCaldarelli" userId="S::lcaldarelli_luriechildrens.org#ext#@nuwildcat.onmicrosoft.com::cd79b54d-c14e-4199-a04a-39c6f592e710" providerId="AD" clId="Web-{F448B036-0349-8976-DAC4-88BE6A4E488E}" dt="2023-11-20T04:15:21.797" v="142" actId="20577"/>
          <ac:spMkLst>
            <pc:docMk/>
            <pc:sldMk cId="3726638559" sldId="616"/>
            <ac:spMk id="2175" creationId="{00000000-0000-0000-0000-000000000000}"/>
          </ac:spMkLst>
        </pc:spChg>
      </pc:sldChg>
      <pc:sldChg chg="modSp">
        <pc:chgData name="LCaldarelli" userId="S::lcaldarelli_luriechildrens.org#ext#@nuwildcat.onmicrosoft.com::cd79b54d-c14e-4199-a04a-39c6f592e710" providerId="AD" clId="Web-{F448B036-0349-8976-DAC4-88BE6A4E488E}" dt="2023-11-20T04:01:36.480" v="94" actId="1076"/>
        <pc:sldMkLst>
          <pc:docMk/>
          <pc:sldMk cId="3572565421" sldId="652"/>
        </pc:sldMkLst>
        <pc:spChg chg="mod">
          <ac:chgData name="LCaldarelli" userId="S::lcaldarelli_luriechildrens.org#ext#@nuwildcat.onmicrosoft.com::cd79b54d-c14e-4199-a04a-39c6f592e710" providerId="AD" clId="Web-{F448B036-0349-8976-DAC4-88BE6A4E488E}" dt="2023-11-20T04:01:36.480" v="94" actId="1076"/>
          <ac:spMkLst>
            <pc:docMk/>
            <pc:sldMk cId="3572565421" sldId="652"/>
            <ac:spMk id="2" creationId="{254DF95E-4E67-BAF0-2898-584D247DD41D}"/>
          </ac:spMkLst>
        </pc:spChg>
      </pc:sldChg>
      <pc:sldChg chg="modSp">
        <pc:chgData name="LCaldarelli" userId="S::lcaldarelli_luriechildrens.org#ext#@nuwildcat.onmicrosoft.com::cd79b54d-c14e-4199-a04a-39c6f592e710" providerId="AD" clId="Web-{F448B036-0349-8976-DAC4-88BE6A4E488E}" dt="2023-11-20T04:02:36.763" v="98" actId="1076"/>
        <pc:sldMkLst>
          <pc:docMk/>
          <pc:sldMk cId="4023770579" sldId="654"/>
        </pc:sldMkLst>
        <pc:spChg chg="mod">
          <ac:chgData name="LCaldarelli" userId="S::lcaldarelli_luriechildrens.org#ext#@nuwildcat.onmicrosoft.com::cd79b54d-c14e-4199-a04a-39c6f592e710" providerId="AD" clId="Web-{F448B036-0349-8976-DAC4-88BE6A4E488E}" dt="2023-11-20T04:02:36.763" v="98" actId="1076"/>
          <ac:spMkLst>
            <pc:docMk/>
            <pc:sldMk cId="4023770579" sldId="654"/>
            <ac:spMk id="2" creationId="{2D358DD0-2AA0-AB8F-45B1-8C96C2105FD9}"/>
          </ac:spMkLst>
        </pc:spChg>
      </pc:sldChg>
      <pc:sldChg chg="ord">
        <pc:chgData name="LCaldarelli" userId="S::lcaldarelli_luriechildrens.org#ext#@nuwildcat.onmicrosoft.com::cd79b54d-c14e-4199-a04a-39c6f592e710" providerId="AD" clId="Web-{F448B036-0349-8976-DAC4-88BE6A4E488E}" dt="2023-11-20T04:14:54.139" v="140"/>
        <pc:sldMkLst>
          <pc:docMk/>
          <pc:sldMk cId="3550543422" sldId="655"/>
        </pc:sldMkLst>
      </pc:sldChg>
      <pc:sldChg chg="modSp">
        <pc:chgData name="LCaldarelli" userId="S::lcaldarelli_luriechildrens.org#ext#@nuwildcat.onmicrosoft.com::cd79b54d-c14e-4199-a04a-39c6f592e710" providerId="AD" clId="Web-{F448B036-0349-8976-DAC4-88BE6A4E488E}" dt="2023-11-20T04:59:24.454" v="311" actId="20577"/>
        <pc:sldMkLst>
          <pc:docMk/>
          <pc:sldMk cId="3336998141" sldId="681"/>
        </pc:sldMkLst>
        <pc:spChg chg="mod">
          <ac:chgData name="LCaldarelli" userId="S::lcaldarelli_luriechildrens.org#ext#@nuwildcat.onmicrosoft.com::cd79b54d-c14e-4199-a04a-39c6f592e710" providerId="AD" clId="Web-{F448B036-0349-8976-DAC4-88BE6A4E488E}" dt="2023-11-20T04:59:24.454" v="311" actId="20577"/>
          <ac:spMkLst>
            <pc:docMk/>
            <pc:sldMk cId="3336998141" sldId="681"/>
            <ac:spMk id="3" creationId="{00000000-0000-0000-0000-000000000000}"/>
          </ac:spMkLst>
        </pc:spChg>
      </pc:sldChg>
      <pc:sldChg chg="ord">
        <pc:chgData name="LCaldarelli" userId="S::lcaldarelli_luriechildrens.org#ext#@nuwildcat.onmicrosoft.com::cd79b54d-c14e-4199-a04a-39c6f592e710" providerId="AD" clId="Web-{F448B036-0349-8976-DAC4-88BE6A4E488E}" dt="2023-11-20T04:56:59.014" v="304"/>
        <pc:sldMkLst>
          <pc:docMk/>
          <pc:sldMk cId="1641636598" sldId="687"/>
        </pc:sldMkLst>
      </pc:sldChg>
      <pc:sldChg chg="ord">
        <pc:chgData name="LCaldarelli" userId="S::lcaldarelli_luriechildrens.org#ext#@nuwildcat.onmicrosoft.com::cd79b54d-c14e-4199-a04a-39c6f592e710" providerId="AD" clId="Web-{F448B036-0349-8976-DAC4-88BE6A4E488E}" dt="2023-11-20T04:53:22.540" v="300"/>
        <pc:sldMkLst>
          <pc:docMk/>
          <pc:sldMk cId="661046635" sldId="694"/>
        </pc:sldMkLst>
      </pc:sldChg>
      <pc:sldChg chg="ord">
        <pc:chgData name="LCaldarelli" userId="S::lcaldarelli_luriechildrens.org#ext#@nuwildcat.onmicrosoft.com::cd79b54d-c14e-4199-a04a-39c6f592e710" providerId="AD" clId="Web-{F448B036-0349-8976-DAC4-88BE6A4E488E}" dt="2023-11-20T04:53:35.634" v="301"/>
        <pc:sldMkLst>
          <pc:docMk/>
          <pc:sldMk cId="3174384986" sldId="695"/>
        </pc:sldMkLst>
      </pc:sldChg>
      <pc:sldChg chg="ord">
        <pc:chgData name="LCaldarelli" userId="S::lcaldarelli_luriechildrens.org#ext#@nuwildcat.onmicrosoft.com::cd79b54d-c14e-4199-a04a-39c6f592e710" providerId="AD" clId="Web-{F448B036-0349-8976-DAC4-88BE6A4E488E}" dt="2023-11-20T04:53:50.572" v="302"/>
        <pc:sldMkLst>
          <pc:docMk/>
          <pc:sldMk cId="4074859317" sldId="696"/>
        </pc:sldMkLst>
      </pc:sldChg>
      <pc:sldChg chg="ord">
        <pc:chgData name="LCaldarelli" userId="S::lcaldarelli_luriechildrens.org#ext#@nuwildcat.onmicrosoft.com::cd79b54d-c14e-4199-a04a-39c6f592e710" providerId="AD" clId="Web-{F448B036-0349-8976-DAC4-88BE6A4E488E}" dt="2023-11-20T04:55:59.122" v="303"/>
        <pc:sldMkLst>
          <pc:docMk/>
          <pc:sldMk cId="1549218491" sldId="697"/>
        </pc:sldMkLst>
      </pc:sldChg>
      <pc:sldChg chg="modSp">
        <pc:chgData name="LCaldarelli" userId="S::lcaldarelli_luriechildrens.org#ext#@nuwildcat.onmicrosoft.com::cd79b54d-c14e-4199-a04a-39c6f592e710" providerId="AD" clId="Web-{F448B036-0349-8976-DAC4-88BE6A4E488E}" dt="2023-11-20T04:50:06.207" v="295" actId="20577"/>
        <pc:sldMkLst>
          <pc:docMk/>
          <pc:sldMk cId="2547146411" sldId="699"/>
        </pc:sldMkLst>
        <pc:spChg chg="mod">
          <ac:chgData name="LCaldarelli" userId="S::lcaldarelli_luriechildrens.org#ext#@nuwildcat.onmicrosoft.com::cd79b54d-c14e-4199-a04a-39c6f592e710" providerId="AD" clId="Web-{F448B036-0349-8976-DAC4-88BE6A4E488E}" dt="2023-11-20T04:48:46.080" v="294" actId="1076"/>
          <ac:spMkLst>
            <pc:docMk/>
            <pc:sldMk cId="2547146411" sldId="699"/>
            <ac:spMk id="3" creationId="{00000000-0000-0000-0000-000000000000}"/>
          </ac:spMkLst>
        </pc:spChg>
        <pc:spChg chg="mod">
          <ac:chgData name="LCaldarelli" userId="S::lcaldarelli_luriechildrens.org#ext#@nuwildcat.onmicrosoft.com::cd79b54d-c14e-4199-a04a-39c6f592e710" providerId="AD" clId="Web-{F448B036-0349-8976-DAC4-88BE6A4E488E}" dt="2023-11-20T04:50:06.207" v="295" actId="20577"/>
          <ac:spMkLst>
            <pc:docMk/>
            <pc:sldMk cId="2547146411" sldId="699"/>
            <ac:spMk id="36" creationId="{6DDD1FA6-DDF8-552B-4E86-7E808427ADE7}"/>
          </ac:spMkLst>
        </pc:spChg>
      </pc:sldChg>
      <pc:sldChg chg="modSp">
        <pc:chgData name="LCaldarelli" userId="S::lcaldarelli_luriechildrens.org#ext#@nuwildcat.onmicrosoft.com::cd79b54d-c14e-4199-a04a-39c6f592e710" providerId="AD" clId="Web-{F448B036-0349-8976-DAC4-88BE6A4E488E}" dt="2023-11-20T04:51:01.193" v="299" actId="20577"/>
        <pc:sldMkLst>
          <pc:docMk/>
          <pc:sldMk cId="2361021200" sldId="700"/>
        </pc:sldMkLst>
        <pc:graphicFrameChg chg="modGraphic">
          <ac:chgData name="LCaldarelli" userId="S::lcaldarelli_luriechildrens.org#ext#@nuwildcat.onmicrosoft.com::cd79b54d-c14e-4199-a04a-39c6f592e710" providerId="AD" clId="Web-{F448B036-0349-8976-DAC4-88BE6A4E488E}" dt="2023-11-20T04:51:01.193" v="299" actId="20577"/>
          <ac:graphicFrameMkLst>
            <pc:docMk/>
            <pc:sldMk cId="2361021200" sldId="700"/>
            <ac:graphicFrameMk id="7" creationId="{F06CF2E9-18E9-F336-FAF0-9ACB11E023F2}"/>
          </ac:graphicFrameMkLst>
        </pc:graphicFrameChg>
      </pc:sldChg>
      <pc:sldChg chg="ord">
        <pc:chgData name="LCaldarelli" userId="S::lcaldarelli_luriechildrens.org#ext#@nuwildcat.onmicrosoft.com::cd79b54d-c14e-4199-a04a-39c6f592e710" providerId="AD" clId="Web-{F448B036-0349-8976-DAC4-88BE6A4E488E}" dt="2023-11-20T04:14:40.108" v="139"/>
        <pc:sldMkLst>
          <pc:docMk/>
          <pc:sldMk cId="3080095507" sldId="703"/>
        </pc:sldMkLst>
      </pc:sldChg>
      <pc:sldChg chg="modSp">
        <pc:chgData name="LCaldarelli" userId="S::lcaldarelli_luriechildrens.org#ext#@nuwildcat.onmicrosoft.com::cd79b54d-c14e-4199-a04a-39c6f592e710" providerId="AD" clId="Web-{F448B036-0349-8976-DAC4-88BE6A4E488E}" dt="2023-11-20T04:01:16.589" v="92" actId="20577"/>
        <pc:sldMkLst>
          <pc:docMk/>
          <pc:sldMk cId="1949613945" sldId="705"/>
        </pc:sldMkLst>
        <pc:spChg chg="mod">
          <ac:chgData name="LCaldarelli" userId="S::lcaldarelli_luriechildrens.org#ext#@nuwildcat.onmicrosoft.com::cd79b54d-c14e-4199-a04a-39c6f592e710" providerId="AD" clId="Web-{F448B036-0349-8976-DAC4-88BE6A4E488E}" dt="2023-11-20T04:01:16.589" v="92" actId="20577"/>
          <ac:spMkLst>
            <pc:docMk/>
            <pc:sldMk cId="1949613945" sldId="705"/>
            <ac:spMk id="2" creationId="{2DE9407A-4283-B111-345C-31D89DFF03A2}"/>
          </ac:spMkLst>
        </pc:spChg>
      </pc:sldChg>
      <pc:sldChg chg="modSp ord">
        <pc:chgData name="LCaldarelli" userId="S::lcaldarelli_luriechildrens.org#ext#@nuwildcat.onmicrosoft.com::cd79b54d-c14e-4199-a04a-39c6f592e710" providerId="AD" clId="Web-{F448B036-0349-8976-DAC4-88BE6A4E488E}" dt="2023-11-20T04:14:01.310" v="134" actId="20577"/>
        <pc:sldMkLst>
          <pc:docMk/>
          <pc:sldMk cId="790635443" sldId="706"/>
        </pc:sldMkLst>
        <pc:spChg chg="mod">
          <ac:chgData name="LCaldarelli" userId="S::lcaldarelli_luriechildrens.org#ext#@nuwildcat.onmicrosoft.com::cd79b54d-c14e-4199-a04a-39c6f592e710" providerId="AD" clId="Web-{F448B036-0349-8976-DAC4-88BE6A4E488E}" dt="2023-11-20T04:09:02.991" v="115" actId="1076"/>
          <ac:spMkLst>
            <pc:docMk/>
            <pc:sldMk cId="790635443" sldId="706"/>
            <ac:spMk id="2" creationId="{00000000-0000-0000-0000-000000000000}"/>
          </ac:spMkLst>
        </pc:spChg>
        <pc:spChg chg="mod">
          <ac:chgData name="LCaldarelli" userId="S::lcaldarelli_luriechildrens.org#ext#@nuwildcat.onmicrosoft.com::cd79b54d-c14e-4199-a04a-39c6f592e710" providerId="AD" clId="Web-{F448B036-0349-8976-DAC4-88BE6A4E488E}" dt="2023-11-20T04:14:01.310" v="134" actId="20577"/>
          <ac:spMkLst>
            <pc:docMk/>
            <pc:sldMk cId="790635443" sldId="706"/>
            <ac:spMk id="3" creationId="{00000000-0000-0000-0000-000000000000}"/>
          </ac:spMkLst>
        </pc:spChg>
      </pc:sldChg>
      <pc:sldChg chg="modSp">
        <pc:chgData name="LCaldarelli" userId="S::lcaldarelli_luriechildrens.org#ext#@nuwildcat.onmicrosoft.com::cd79b54d-c14e-4199-a04a-39c6f592e710" providerId="AD" clId="Web-{F448B036-0349-8976-DAC4-88BE6A4E488E}" dt="2023-11-20T03:57:16.459" v="72" actId="20577"/>
        <pc:sldMkLst>
          <pc:docMk/>
          <pc:sldMk cId="3859034132" sldId="711"/>
        </pc:sldMkLst>
        <pc:spChg chg="mod">
          <ac:chgData name="LCaldarelli" userId="S::lcaldarelli_luriechildrens.org#ext#@nuwildcat.onmicrosoft.com::cd79b54d-c14e-4199-a04a-39c6f592e710" providerId="AD" clId="Web-{F448B036-0349-8976-DAC4-88BE6A4E488E}" dt="2023-11-20T03:57:16.459" v="72" actId="20577"/>
          <ac:spMkLst>
            <pc:docMk/>
            <pc:sldMk cId="3859034132" sldId="711"/>
            <ac:spMk id="3780" creationId="{00000000-0000-0000-0000-000000000000}"/>
          </ac:spMkLst>
        </pc:spChg>
      </pc:sldChg>
      <pc:sldChg chg="modSp">
        <pc:chgData name="LCaldarelli" userId="S::lcaldarelli_luriechildrens.org#ext#@nuwildcat.onmicrosoft.com::cd79b54d-c14e-4199-a04a-39c6f592e710" providerId="AD" clId="Web-{F448B036-0349-8976-DAC4-88BE6A4E488E}" dt="2023-11-20T04:00:05.650" v="86" actId="1076"/>
        <pc:sldMkLst>
          <pc:docMk/>
          <pc:sldMk cId="4179369718" sldId="713"/>
        </pc:sldMkLst>
        <pc:spChg chg="mod">
          <ac:chgData name="LCaldarelli" userId="S::lcaldarelli_luriechildrens.org#ext#@nuwildcat.onmicrosoft.com::cd79b54d-c14e-4199-a04a-39c6f592e710" providerId="AD" clId="Web-{F448B036-0349-8976-DAC4-88BE6A4E488E}" dt="2023-11-20T04:00:05.650" v="86" actId="1076"/>
          <ac:spMkLst>
            <pc:docMk/>
            <pc:sldMk cId="4179369718" sldId="713"/>
            <ac:spMk id="2" creationId="{00000000-0000-0000-0000-000000000000}"/>
          </ac:spMkLst>
        </pc:spChg>
      </pc:sldChg>
      <pc:sldChg chg="modSp">
        <pc:chgData name="LCaldarelli" userId="S::lcaldarelli_luriechildrens.org#ext#@nuwildcat.onmicrosoft.com::cd79b54d-c14e-4199-a04a-39c6f592e710" providerId="AD" clId="Web-{F448B036-0349-8976-DAC4-88BE6A4E488E}" dt="2023-11-20T03:46:52.350" v="0" actId="1076"/>
        <pc:sldMkLst>
          <pc:docMk/>
          <pc:sldMk cId="3124210322" sldId="714"/>
        </pc:sldMkLst>
        <pc:picChg chg="mod">
          <ac:chgData name="LCaldarelli" userId="S::lcaldarelli_luriechildrens.org#ext#@nuwildcat.onmicrosoft.com::cd79b54d-c14e-4199-a04a-39c6f592e710" providerId="AD" clId="Web-{F448B036-0349-8976-DAC4-88BE6A4E488E}" dt="2023-11-20T03:46:52.350" v="0" actId="1076"/>
          <ac:picMkLst>
            <pc:docMk/>
            <pc:sldMk cId="3124210322" sldId="714"/>
            <ac:picMk id="6" creationId="{9EE6AC8F-4DC4-191C-AA4C-B047F4935B19}"/>
          </ac:picMkLst>
        </pc:picChg>
      </pc:sldChg>
      <pc:sldChg chg="modSp">
        <pc:chgData name="LCaldarelli" userId="S::lcaldarelli_luriechildrens.org#ext#@nuwildcat.onmicrosoft.com::cd79b54d-c14e-4199-a04a-39c6f592e710" providerId="AD" clId="Web-{F448B036-0349-8976-DAC4-88BE6A4E488E}" dt="2023-11-20T03:57:02.989" v="71" actId="1076"/>
        <pc:sldMkLst>
          <pc:docMk/>
          <pc:sldMk cId="4091814342" sldId="715"/>
        </pc:sldMkLst>
        <pc:spChg chg="mod">
          <ac:chgData name="LCaldarelli" userId="S::lcaldarelli_luriechildrens.org#ext#@nuwildcat.onmicrosoft.com::cd79b54d-c14e-4199-a04a-39c6f592e710" providerId="AD" clId="Web-{F448B036-0349-8976-DAC4-88BE6A4E488E}" dt="2023-11-20T03:56:53.520" v="70" actId="20577"/>
          <ac:spMkLst>
            <pc:docMk/>
            <pc:sldMk cId="4091814342" sldId="715"/>
            <ac:spMk id="2" creationId="{8802BA79-C4E2-3A24-1316-4AC6D3F66837}"/>
          </ac:spMkLst>
        </pc:spChg>
        <pc:spChg chg="mod">
          <ac:chgData name="LCaldarelli" userId="S::lcaldarelli_luriechildrens.org#ext#@nuwildcat.onmicrosoft.com::cd79b54d-c14e-4199-a04a-39c6f592e710" providerId="AD" clId="Web-{F448B036-0349-8976-DAC4-88BE6A4E488E}" dt="2023-11-20T03:56:34.801" v="69" actId="20577"/>
          <ac:spMkLst>
            <pc:docMk/>
            <pc:sldMk cId="4091814342" sldId="715"/>
            <ac:spMk id="3" creationId="{0608F2C2-83F0-41C5-A0E1-33DE05A98582}"/>
          </ac:spMkLst>
        </pc:spChg>
        <pc:picChg chg="mod">
          <ac:chgData name="LCaldarelli" userId="S::lcaldarelli_luriechildrens.org#ext#@nuwildcat.onmicrosoft.com::cd79b54d-c14e-4199-a04a-39c6f592e710" providerId="AD" clId="Web-{F448B036-0349-8976-DAC4-88BE6A4E488E}" dt="2023-11-20T03:57:02.989" v="71" actId="1076"/>
          <ac:picMkLst>
            <pc:docMk/>
            <pc:sldMk cId="4091814342" sldId="715"/>
            <ac:picMk id="6" creationId="{302BBFF9-D69A-D1E9-E01C-7C15E1F6D1A6}"/>
          </ac:picMkLst>
        </pc:picChg>
      </pc:sldChg>
      <pc:sldChg chg="modSp">
        <pc:chgData name="LCaldarelli" userId="S::lcaldarelli_luriechildrens.org#ext#@nuwildcat.onmicrosoft.com::cd79b54d-c14e-4199-a04a-39c6f592e710" providerId="AD" clId="Web-{F448B036-0349-8976-DAC4-88BE6A4E488E}" dt="2023-11-20T04:43:12.182" v="268" actId="20577"/>
        <pc:sldMkLst>
          <pc:docMk/>
          <pc:sldMk cId="920926381" sldId="718"/>
        </pc:sldMkLst>
        <pc:spChg chg="mod">
          <ac:chgData name="LCaldarelli" userId="S::lcaldarelli_luriechildrens.org#ext#@nuwildcat.onmicrosoft.com::cd79b54d-c14e-4199-a04a-39c6f592e710" providerId="AD" clId="Web-{F448B036-0349-8976-DAC4-88BE6A4E488E}" dt="2023-11-20T04:43:12.182" v="268" actId="20577"/>
          <ac:spMkLst>
            <pc:docMk/>
            <pc:sldMk cId="920926381" sldId="718"/>
            <ac:spMk id="7" creationId="{C4CE6283-A808-AE07-353B-1EEB0D5BF6FD}"/>
          </ac:spMkLst>
        </pc:spChg>
      </pc:sldChg>
      <pc:sldChg chg="modSp">
        <pc:chgData name="LCaldarelli" userId="S::lcaldarelli_luriechildrens.org#ext#@nuwildcat.onmicrosoft.com::cd79b54d-c14e-4199-a04a-39c6f592e710" providerId="AD" clId="Web-{F448B036-0349-8976-DAC4-88BE6A4E488E}" dt="2023-11-20T04:40:05.381" v="266" actId="20577"/>
        <pc:sldMkLst>
          <pc:docMk/>
          <pc:sldMk cId="97208790" sldId="723"/>
        </pc:sldMkLst>
        <pc:spChg chg="mod">
          <ac:chgData name="LCaldarelli" userId="S::lcaldarelli_luriechildrens.org#ext#@nuwildcat.onmicrosoft.com::cd79b54d-c14e-4199-a04a-39c6f592e710" providerId="AD" clId="Web-{F448B036-0349-8976-DAC4-88BE6A4E488E}" dt="2023-11-20T04:40:05.381" v="266" actId="20577"/>
          <ac:spMkLst>
            <pc:docMk/>
            <pc:sldMk cId="97208790" sldId="723"/>
            <ac:spMk id="8" creationId="{24CD5883-74F0-901B-1AE1-A53D4170658C}"/>
          </ac:spMkLst>
        </pc:spChg>
        <pc:spChg chg="mod">
          <ac:chgData name="LCaldarelli" userId="S::lcaldarelli_luriechildrens.org#ext#@nuwildcat.onmicrosoft.com::cd79b54d-c14e-4199-a04a-39c6f592e710" providerId="AD" clId="Web-{F448B036-0349-8976-DAC4-88BE6A4E488E}" dt="2023-11-20T04:39:32.318" v="262" actId="20577"/>
          <ac:spMkLst>
            <pc:docMk/>
            <pc:sldMk cId="97208790" sldId="723"/>
            <ac:spMk id="10" creationId="{8BCC0F5C-3791-38AB-6A34-E5D5FCAACFCB}"/>
          </ac:spMkLst>
        </pc:spChg>
        <pc:picChg chg="mod">
          <ac:chgData name="LCaldarelli" userId="S::lcaldarelli_luriechildrens.org#ext#@nuwildcat.onmicrosoft.com::cd79b54d-c14e-4199-a04a-39c6f592e710" providerId="AD" clId="Web-{F448B036-0349-8976-DAC4-88BE6A4E488E}" dt="2023-11-20T04:39:45.646" v="263" actId="1076"/>
          <ac:picMkLst>
            <pc:docMk/>
            <pc:sldMk cId="97208790" sldId="723"/>
            <ac:picMk id="17" creationId="{1E6C1ABD-FF6C-3DED-E717-DF57CD6F7C44}"/>
          </ac:picMkLst>
        </pc:picChg>
      </pc:sldChg>
      <pc:sldChg chg="modSp">
        <pc:chgData name="LCaldarelli" userId="S::lcaldarelli_luriechildrens.org#ext#@nuwildcat.onmicrosoft.com::cd79b54d-c14e-4199-a04a-39c6f592e710" providerId="AD" clId="Web-{F448B036-0349-8976-DAC4-88BE6A4E488E}" dt="2023-11-20T04:39:12.005" v="258" actId="20577"/>
        <pc:sldMkLst>
          <pc:docMk/>
          <pc:sldMk cId="2422191514" sldId="724"/>
        </pc:sldMkLst>
        <pc:spChg chg="mod">
          <ac:chgData name="LCaldarelli" userId="S::lcaldarelli_luriechildrens.org#ext#@nuwildcat.onmicrosoft.com::cd79b54d-c14e-4199-a04a-39c6f592e710" providerId="AD" clId="Web-{F448B036-0349-8976-DAC4-88BE6A4E488E}" dt="2023-11-20T04:39:12.005" v="258" actId="20577"/>
          <ac:spMkLst>
            <pc:docMk/>
            <pc:sldMk cId="2422191514" sldId="724"/>
            <ac:spMk id="3" creationId="{CF76BAF3-0D68-BE52-7B63-AF42CBFD04CB}"/>
          </ac:spMkLst>
        </pc:spChg>
        <pc:spChg chg="mod">
          <ac:chgData name="LCaldarelli" userId="S::lcaldarelli_luriechildrens.org#ext#@nuwildcat.onmicrosoft.com::cd79b54d-c14e-4199-a04a-39c6f592e710" providerId="AD" clId="Web-{F448B036-0349-8976-DAC4-88BE6A4E488E}" dt="2023-11-20T04:38:26.660" v="251" actId="20577"/>
          <ac:spMkLst>
            <pc:docMk/>
            <pc:sldMk cId="2422191514" sldId="724"/>
            <ac:spMk id="7" creationId="{B36D3553-B1A4-1B35-3CEF-32DDF6A472CD}"/>
          </ac:spMkLst>
        </pc:spChg>
        <pc:spChg chg="mod">
          <ac:chgData name="LCaldarelli" userId="S::lcaldarelli_luriechildrens.org#ext#@nuwildcat.onmicrosoft.com::cd79b54d-c14e-4199-a04a-39c6f592e710" providerId="AD" clId="Web-{F448B036-0349-8976-DAC4-88BE6A4E488E}" dt="2023-11-20T04:38:08.269" v="249" actId="20577"/>
          <ac:spMkLst>
            <pc:docMk/>
            <pc:sldMk cId="2422191514" sldId="724"/>
            <ac:spMk id="12" creationId="{78126F38-8B56-6129-962F-5469035C8159}"/>
          </ac:spMkLst>
        </pc:spChg>
      </pc:sldChg>
      <pc:sldChg chg="modSp">
        <pc:chgData name="LCaldarelli" userId="S::lcaldarelli_luriechildrens.org#ext#@nuwildcat.onmicrosoft.com::cd79b54d-c14e-4199-a04a-39c6f592e710" providerId="AD" clId="Web-{F448B036-0349-8976-DAC4-88BE6A4E488E}" dt="2023-11-20T04:35:41.403" v="247" actId="20577"/>
        <pc:sldMkLst>
          <pc:docMk/>
          <pc:sldMk cId="3458386910" sldId="725"/>
        </pc:sldMkLst>
        <pc:spChg chg="mod">
          <ac:chgData name="LCaldarelli" userId="S::lcaldarelli_luriechildrens.org#ext#@nuwildcat.onmicrosoft.com::cd79b54d-c14e-4199-a04a-39c6f592e710" providerId="AD" clId="Web-{F448B036-0349-8976-DAC4-88BE6A4E488E}" dt="2023-11-20T04:35:22.293" v="245" actId="20577"/>
          <ac:spMkLst>
            <pc:docMk/>
            <pc:sldMk cId="3458386910" sldId="725"/>
            <ac:spMk id="3" creationId="{E820A2E4-4F18-6799-9BD9-B308061CC76C}"/>
          </ac:spMkLst>
        </pc:spChg>
        <pc:spChg chg="mod">
          <ac:chgData name="LCaldarelli" userId="S::lcaldarelli_luriechildrens.org#ext#@nuwildcat.onmicrosoft.com::cd79b54d-c14e-4199-a04a-39c6f592e710" providerId="AD" clId="Web-{F448B036-0349-8976-DAC4-88BE6A4E488E}" dt="2023-11-20T04:35:41.403" v="247" actId="20577"/>
          <ac:spMkLst>
            <pc:docMk/>
            <pc:sldMk cId="3458386910" sldId="725"/>
            <ac:spMk id="6" creationId="{ADFC1F5A-A2FF-8C65-F763-941E2E4DFF8C}"/>
          </ac:spMkLst>
        </pc:spChg>
        <pc:spChg chg="mod">
          <ac:chgData name="LCaldarelli" userId="S::lcaldarelli_luriechildrens.org#ext#@nuwildcat.onmicrosoft.com::cd79b54d-c14e-4199-a04a-39c6f592e710" providerId="AD" clId="Web-{F448B036-0349-8976-DAC4-88BE6A4E488E}" dt="2023-11-20T04:35:11.996" v="242" actId="20577"/>
          <ac:spMkLst>
            <pc:docMk/>
            <pc:sldMk cId="3458386910" sldId="725"/>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33:54.276" v="214" actId="1076"/>
        <pc:sldMkLst>
          <pc:docMk/>
          <pc:sldMk cId="1390059426" sldId="726"/>
        </pc:sldMkLst>
        <pc:spChg chg="mod">
          <ac:chgData name="LCaldarelli" userId="S::lcaldarelli_luriechildrens.org#ext#@nuwildcat.onmicrosoft.com::cd79b54d-c14e-4199-a04a-39c6f592e710" providerId="AD" clId="Web-{F448B036-0349-8976-DAC4-88BE6A4E488E}" dt="2023-11-20T04:32:42.227" v="211" actId="20577"/>
          <ac:spMkLst>
            <pc:docMk/>
            <pc:sldMk cId="1390059426" sldId="726"/>
            <ac:spMk id="25" creationId="{6DD46D80-F576-4F56-C047-1645F85E88F8}"/>
          </ac:spMkLst>
        </pc:spChg>
        <pc:spChg chg="mod">
          <ac:chgData name="LCaldarelli" userId="S::lcaldarelli_luriechildrens.org#ext#@nuwildcat.onmicrosoft.com::cd79b54d-c14e-4199-a04a-39c6f592e710" providerId="AD" clId="Web-{F448B036-0349-8976-DAC4-88BE6A4E488E}" dt="2023-11-20T04:32:52.227" v="213" actId="20577"/>
          <ac:spMkLst>
            <pc:docMk/>
            <pc:sldMk cId="1390059426" sldId="726"/>
            <ac:spMk id="26" creationId="{585B113D-37B0-A626-E412-E3D462910528}"/>
          </ac:spMkLst>
        </pc:spChg>
        <pc:spChg chg="mod">
          <ac:chgData name="LCaldarelli" userId="S::lcaldarelli_luriechildrens.org#ext#@nuwildcat.onmicrosoft.com::cd79b54d-c14e-4199-a04a-39c6f592e710" providerId="AD" clId="Web-{F448B036-0349-8976-DAC4-88BE6A4E488E}" dt="2023-11-20T04:33:54.276" v="214" actId="1076"/>
          <ac:spMkLst>
            <pc:docMk/>
            <pc:sldMk cId="1390059426" sldId="726"/>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1:57.570" v="210" actId="1076"/>
        <pc:sldMkLst>
          <pc:docMk/>
          <pc:sldMk cId="3339906105" sldId="727"/>
        </pc:sldMkLst>
        <pc:spChg chg="mod">
          <ac:chgData name="LCaldarelli" userId="S::lcaldarelli_luriechildrens.org#ext#@nuwildcat.onmicrosoft.com::cd79b54d-c14e-4199-a04a-39c6f592e710" providerId="AD" clId="Web-{F448B036-0349-8976-DAC4-88BE6A4E488E}" dt="2023-11-20T04:31:57.570" v="210" actId="1076"/>
          <ac:spMkLst>
            <pc:docMk/>
            <pc:sldMk cId="3339906105" sldId="727"/>
            <ac:spMk id="25" creationId="{6DD46D80-F576-4F56-C047-1645F85E88F8}"/>
          </ac:spMkLst>
        </pc:spChg>
        <pc:spChg chg="mod">
          <ac:chgData name="LCaldarelli" userId="S::lcaldarelli_luriechildrens.org#ext#@nuwildcat.onmicrosoft.com::cd79b54d-c14e-4199-a04a-39c6f592e710" providerId="AD" clId="Web-{F448B036-0349-8976-DAC4-88BE6A4E488E}" dt="2023-11-20T04:31:45.445" v="209" actId="20577"/>
          <ac:spMkLst>
            <pc:docMk/>
            <pc:sldMk cId="3339906105" sldId="727"/>
            <ac:spMk id="26" creationId="{585B113D-37B0-A626-E412-E3D462910528}"/>
          </ac:spMkLst>
        </pc:spChg>
        <pc:spChg chg="mod">
          <ac:chgData name="LCaldarelli" userId="S::lcaldarelli_luriechildrens.org#ext#@nuwildcat.onmicrosoft.com::cd79b54d-c14e-4199-a04a-39c6f592e710" providerId="AD" clId="Web-{F448B036-0349-8976-DAC4-88BE6A4E488E}" dt="2023-11-20T04:31:12.631" v="206" actId="1076"/>
          <ac:spMkLst>
            <pc:docMk/>
            <pc:sldMk cId="3339906105" sldId="727"/>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0:28.411" v="205" actId="1076"/>
        <pc:sldMkLst>
          <pc:docMk/>
          <pc:sldMk cId="2917591221" sldId="728"/>
        </pc:sldMkLst>
        <pc:spChg chg="mod">
          <ac:chgData name="LCaldarelli" userId="S::lcaldarelli_luriechildrens.org#ext#@nuwildcat.onmicrosoft.com::cd79b54d-c14e-4199-a04a-39c6f592e710" providerId="AD" clId="Web-{F448B036-0349-8976-DAC4-88BE6A4E488E}" dt="2023-11-20T04:29:36.551" v="204" actId="1076"/>
          <ac:spMkLst>
            <pc:docMk/>
            <pc:sldMk cId="2917591221" sldId="728"/>
            <ac:spMk id="2" creationId="{626EF7A8-30AC-3AF9-E10B-D7595223D641}"/>
          </ac:spMkLst>
        </pc:spChg>
        <pc:spChg chg="mod">
          <ac:chgData name="LCaldarelli" userId="S::lcaldarelli_luriechildrens.org#ext#@nuwildcat.onmicrosoft.com::cd79b54d-c14e-4199-a04a-39c6f592e710" providerId="AD" clId="Web-{F448B036-0349-8976-DAC4-88BE6A4E488E}" dt="2023-11-20T04:30:28.411" v="205" actId="1076"/>
          <ac:spMkLst>
            <pc:docMk/>
            <pc:sldMk cId="2917591221" sldId="728"/>
            <ac:spMk id="49" creationId="{1B4056B3-3D40-2836-5998-C6A461A209D5}"/>
          </ac:spMkLst>
        </pc:spChg>
      </pc:sldChg>
      <pc:sldChg chg="modSp">
        <pc:chgData name="LCaldarelli" userId="S::lcaldarelli_luriechildrens.org#ext#@nuwildcat.onmicrosoft.com::cd79b54d-c14e-4199-a04a-39c6f592e710" providerId="AD" clId="Web-{F448B036-0349-8976-DAC4-88BE6A4E488E}" dt="2023-11-20T04:27:26.157" v="194" actId="20577"/>
        <pc:sldMkLst>
          <pc:docMk/>
          <pc:sldMk cId="1617559145" sldId="730"/>
        </pc:sldMkLst>
        <pc:spChg chg="mod">
          <ac:chgData name="LCaldarelli" userId="S::lcaldarelli_luriechildrens.org#ext#@nuwildcat.onmicrosoft.com::cd79b54d-c14e-4199-a04a-39c6f592e710" providerId="AD" clId="Web-{F448B036-0349-8976-DAC4-88BE6A4E488E}" dt="2023-11-20T04:27:26.157" v="194" actId="20577"/>
          <ac:spMkLst>
            <pc:docMk/>
            <pc:sldMk cId="1617559145" sldId="730"/>
            <ac:spMk id="2" creationId="{BB53F377-28A9-F2D5-76A8-8CDE2A9E7535}"/>
          </ac:spMkLst>
        </pc:spChg>
      </pc:sldChg>
      <pc:sldChg chg="modSp">
        <pc:chgData name="LCaldarelli" userId="S::lcaldarelli_luriechildrens.org#ext#@nuwildcat.onmicrosoft.com::cd79b54d-c14e-4199-a04a-39c6f592e710" providerId="AD" clId="Web-{F448B036-0349-8976-DAC4-88BE6A4E488E}" dt="2023-11-20T04:26:25.531" v="184" actId="20577"/>
        <pc:sldMkLst>
          <pc:docMk/>
          <pc:sldMk cId="2888392633" sldId="731"/>
        </pc:sldMkLst>
        <pc:spChg chg="mod">
          <ac:chgData name="LCaldarelli" userId="S::lcaldarelli_luriechildrens.org#ext#@nuwildcat.onmicrosoft.com::cd79b54d-c14e-4199-a04a-39c6f592e710" providerId="AD" clId="Web-{F448B036-0349-8976-DAC4-88BE6A4E488E}" dt="2023-11-20T04:26:25.531" v="184" actId="20577"/>
          <ac:spMkLst>
            <pc:docMk/>
            <pc:sldMk cId="2888392633" sldId="731"/>
            <ac:spMk id="4" creationId="{EA09FBC4-EFF6-9AB4-25A1-D6ED252CED0D}"/>
          </ac:spMkLst>
        </pc:spChg>
      </pc:sldChg>
      <pc:sldChg chg="modSp">
        <pc:chgData name="LCaldarelli" userId="S::lcaldarelli_luriechildrens.org#ext#@nuwildcat.onmicrosoft.com::cd79b54d-c14e-4199-a04a-39c6f592e710" providerId="AD" clId="Web-{F448B036-0349-8976-DAC4-88BE6A4E488E}" dt="2023-11-20T04:24:01.434" v="167" actId="20577"/>
        <pc:sldMkLst>
          <pc:docMk/>
          <pc:sldMk cId="1046854343" sldId="732"/>
        </pc:sldMkLst>
        <pc:spChg chg="mod">
          <ac:chgData name="LCaldarelli" userId="S::lcaldarelli_luriechildrens.org#ext#@nuwildcat.onmicrosoft.com::cd79b54d-c14e-4199-a04a-39c6f592e710" providerId="AD" clId="Web-{F448B036-0349-8976-DAC4-88BE6A4E488E}" dt="2023-11-20T04:24:01.434" v="167" actId="20577"/>
          <ac:spMkLst>
            <pc:docMk/>
            <pc:sldMk cId="1046854343" sldId="732"/>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3:01.464" v="163" actId="1076"/>
        <pc:sldMkLst>
          <pc:docMk/>
          <pc:sldMk cId="1800188643" sldId="733"/>
        </pc:sldMkLst>
        <pc:spChg chg="mod">
          <ac:chgData name="LCaldarelli" userId="S::lcaldarelli_luriechildrens.org#ext#@nuwildcat.onmicrosoft.com::cd79b54d-c14e-4199-a04a-39c6f592e710" providerId="AD" clId="Web-{F448B036-0349-8976-DAC4-88BE6A4E488E}" dt="2023-11-20T04:22:28.666" v="162" actId="1076"/>
          <ac:spMkLst>
            <pc:docMk/>
            <pc:sldMk cId="1800188643" sldId="733"/>
            <ac:spMk id="7" creationId="{EAD90045-A731-42F5-ED3E-D5AE61B97B24}"/>
          </ac:spMkLst>
        </pc:spChg>
        <pc:spChg chg="mod">
          <ac:chgData name="LCaldarelli" userId="S::lcaldarelli_luriechildrens.org#ext#@nuwildcat.onmicrosoft.com::cd79b54d-c14e-4199-a04a-39c6f592e710" providerId="AD" clId="Web-{F448B036-0349-8976-DAC4-88BE6A4E488E}" dt="2023-11-20T04:23:01.464" v="163" actId="1076"/>
          <ac:spMkLst>
            <pc:docMk/>
            <pc:sldMk cId="1800188643" sldId="733"/>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2:18.556" v="161" actId="20577"/>
        <pc:sldMkLst>
          <pc:docMk/>
          <pc:sldMk cId="2965389356" sldId="734"/>
        </pc:sldMkLst>
        <pc:spChg chg="mod">
          <ac:chgData name="LCaldarelli" userId="S::lcaldarelli_luriechildrens.org#ext#@nuwildcat.onmicrosoft.com::cd79b54d-c14e-4199-a04a-39c6f592e710" providerId="AD" clId="Web-{F448B036-0349-8976-DAC4-88BE6A4E488E}" dt="2023-11-20T04:22:18.556" v="161" actId="20577"/>
          <ac:spMkLst>
            <pc:docMk/>
            <pc:sldMk cId="2965389356" sldId="734"/>
            <ac:spMk id="7" creationId="{EAD90045-A731-42F5-ED3E-D5AE61B97B24}"/>
          </ac:spMkLst>
        </pc:spChg>
        <pc:spChg chg="mod">
          <ac:chgData name="LCaldarelli" userId="S::lcaldarelli_luriechildrens.org#ext#@nuwildcat.onmicrosoft.com::cd79b54d-c14e-4199-a04a-39c6f592e710" providerId="AD" clId="Web-{F448B036-0349-8976-DAC4-88BE6A4E488E}" dt="2023-11-20T04:21:20.430" v="156" actId="1076"/>
          <ac:spMkLst>
            <pc:docMk/>
            <pc:sldMk cId="2965389356" sldId="734"/>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5:01:58.052" v="316" actId="20577"/>
        <pc:sldMkLst>
          <pc:docMk/>
          <pc:sldMk cId="1811019117" sldId="736"/>
        </pc:sldMkLst>
        <pc:graphicFrameChg chg="modGraphic">
          <ac:chgData name="LCaldarelli" userId="S::lcaldarelli_luriechildrens.org#ext#@nuwildcat.onmicrosoft.com::cd79b54d-c14e-4199-a04a-39c6f592e710" providerId="AD" clId="Web-{F448B036-0349-8976-DAC4-88BE6A4E488E}" dt="2023-11-20T05:01:58.052" v="316" actId="20577"/>
          <ac:graphicFrameMkLst>
            <pc:docMk/>
            <pc:sldMk cId="1811019117" sldId="736"/>
            <ac:graphicFrameMk id="7" creationId="{7A2359A2-13A0-13F8-9703-E546D92B0B98}"/>
          </ac:graphicFrameMkLst>
        </pc:graphicFrameChg>
      </pc:sldChg>
      <pc:sldChg chg="delSp modSp add del">
        <pc:chgData name="LCaldarelli" userId="S::lcaldarelli_luriechildrens.org#ext#@nuwildcat.onmicrosoft.com::cd79b54d-c14e-4199-a04a-39c6f592e710" providerId="AD" clId="Web-{F448B036-0349-8976-DAC4-88BE6A4E488E}" dt="2023-11-20T03:56:21.535" v="68"/>
        <pc:sldMkLst>
          <pc:docMk/>
          <pc:sldMk cId="1186349951" sldId="738"/>
        </pc:sldMkLst>
        <pc:spChg chg="mod">
          <ac:chgData name="LCaldarelli" userId="S::lcaldarelli_luriechildrens.org#ext#@nuwildcat.onmicrosoft.com::cd79b54d-c14e-4199-a04a-39c6f592e710" providerId="AD" clId="Web-{F448B036-0349-8976-DAC4-88BE6A4E488E}" dt="2023-11-20T03:55:29.003" v="60" actId="20577"/>
          <ac:spMkLst>
            <pc:docMk/>
            <pc:sldMk cId="1186349951" sldId="738"/>
            <ac:spMk id="2" creationId="{00000000-0000-0000-0000-000000000000}"/>
          </ac:spMkLst>
        </pc:spChg>
        <pc:spChg chg="mod">
          <ac:chgData name="LCaldarelli" userId="S::lcaldarelli_luriechildrens.org#ext#@nuwildcat.onmicrosoft.com::cd79b54d-c14e-4199-a04a-39c6f592e710" providerId="AD" clId="Web-{F448B036-0349-8976-DAC4-88BE6A4E488E}" dt="2023-11-20T03:50:19.402" v="14" actId="20577"/>
          <ac:spMkLst>
            <pc:docMk/>
            <pc:sldMk cId="1186349951" sldId="738"/>
            <ac:spMk id="3" creationId="{00000000-0000-0000-0000-000000000000}"/>
          </ac:spMkLst>
        </pc:spChg>
        <pc:spChg chg="del mod">
          <ac:chgData name="LCaldarelli" userId="S::lcaldarelli_luriechildrens.org#ext#@nuwildcat.onmicrosoft.com::cd79b54d-c14e-4199-a04a-39c6f592e710" providerId="AD" clId="Web-{F448B036-0349-8976-DAC4-88BE6A4E488E}" dt="2023-11-20T03:51:08.622" v="20"/>
          <ac:spMkLst>
            <pc:docMk/>
            <pc:sldMk cId="1186349951" sldId="738"/>
            <ac:spMk id="7" creationId="{C8F58F52-0A70-3681-BB65-8A08E7169DEB}"/>
          </ac:spMkLst>
        </pc:spChg>
        <pc:picChg chg="mod">
          <ac:chgData name="LCaldarelli" userId="S::lcaldarelli_luriechildrens.org#ext#@nuwildcat.onmicrosoft.com::cd79b54d-c14e-4199-a04a-39c6f592e710" providerId="AD" clId="Web-{F448B036-0349-8976-DAC4-88BE6A4E488E}" dt="2023-11-20T03:49:08.088" v="4" actId="1076"/>
          <ac:picMkLst>
            <pc:docMk/>
            <pc:sldMk cId="1186349951" sldId="738"/>
            <ac:picMk id="5" creationId="{2E1F6A1B-373A-C0EC-B7AA-45256FC2D7CF}"/>
          </ac:picMkLst>
        </pc:picChg>
        <pc:picChg chg="del">
          <ac:chgData name="LCaldarelli" userId="S::lcaldarelli_luriechildrens.org#ext#@nuwildcat.onmicrosoft.com::cd79b54d-c14e-4199-a04a-39c6f592e710" providerId="AD" clId="Web-{F448B036-0349-8976-DAC4-88BE6A4E488E}" dt="2023-11-20T03:48:58.369" v="2"/>
          <ac:picMkLst>
            <pc:docMk/>
            <pc:sldMk cId="1186349951" sldId="738"/>
            <ac:picMk id="6" creationId="{444A105F-3B91-8DA6-ABE2-6E9593561122}"/>
          </ac:picMkLst>
        </pc:picChg>
      </pc:sldChg>
      <pc:sldChg chg="new del">
        <pc:chgData name="LCaldarelli" userId="S::lcaldarelli_luriechildrens.org#ext#@nuwildcat.onmicrosoft.com::cd79b54d-c14e-4199-a04a-39c6f592e710" providerId="AD" clId="Web-{F448B036-0349-8976-DAC4-88BE6A4E488E}" dt="2023-11-20T03:53:21.422" v="34"/>
        <pc:sldMkLst>
          <pc:docMk/>
          <pc:sldMk cId="2564591416" sldId="739"/>
        </pc:sldMkLst>
      </pc:sldChg>
      <pc:sldChg chg="addSp delSp modSp new">
        <pc:chgData name="LCaldarelli" userId="S::lcaldarelli_luriechildrens.org#ext#@nuwildcat.onmicrosoft.com::cd79b54d-c14e-4199-a04a-39c6f592e710" providerId="AD" clId="Web-{F448B036-0349-8976-DAC4-88BE6A4E488E}" dt="2023-11-20T03:59:22.790" v="82" actId="20577"/>
        <pc:sldMkLst>
          <pc:docMk/>
          <pc:sldMk cId="3241722567" sldId="740"/>
        </pc:sldMkLst>
        <pc:spChg chg="mod">
          <ac:chgData name="LCaldarelli" userId="S::lcaldarelli_luriechildrens.org#ext#@nuwildcat.onmicrosoft.com::cd79b54d-c14e-4199-a04a-39c6f592e710" providerId="AD" clId="Web-{F448B036-0349-8976-DAC4-88BE6A4E488E}" dt="2023-11-20T03:56:10.348" v="67" actId="1076"/>
          <ac:spMkLst>
            <pc:docMk/>
            <pc:sldMk cId="3241722567" sldId="740"/>
            <ac:spMk id="2" creationId="{D24FB2C5-4B3C-7E91-CA87-3073F37E77A6}"/>
          </ac:spMkLst>
        </pc:spChg>
        <pc:spChg chg="del">
          <ac:chgData name="LCaldarelli" userId="S::lcaldarelli_luriechildrens.org#ext#@nuwildcat.onmicrosoft.com::cd79b54d-c14e-4199-a04a-39c6f592e710" providerId="AD" clId="Web-{F448B036-0349-8976-DAC4-88BE6A4E488E}" dt="2023-11-20T03:53:34.719" v="35"/>
          <ac:spMkLst>
            <pc:docMk/>
            <pc:sldMk cId="3241722567" sldId="740"/>
            <ac:spMk id="3" creationId="{9812BD77-B078-C023-43DC-8C34F9A3A718}"/>
          </ac:spMkLst>
        </pc:spChg>
        <pc:spChg chg="add mod">
          <ac:chgData name="LCaldarelli" userId="S::lcaldarelli_luriechildrens.org#ext#@nuwildcat.onmicrosoft.com::cd79b54d-c14e-4199-a04a-39c6f592e710" providerId="AD" clId="Web-{F448B036-0349-8976-DAC4-88BE6A4E488E}" dt="2023-11-20T03:59:22.790" v="82" actId="20577"/>
          <ac:spMkLst>
            <pc:docMk/>
            <pc:sldMk cId="3241722567" sldId="740"/>
            <ac:spMk id="8" creationId="{D5D1F0C8-27BB-1F4F-9B28-F7D9F4C8AE47}"/>
          </ac:spMkLst>
        </pc:spChg>
        <pc:picChg chg="add del mod ord">
          <ac:chgData name="LCaldarelli" userId="S::lcaldarelli_luriechildrens.org#ext#@nuwildcat.onmicrosoft.com::cd79b54d-c14e-4199-a04a-39c6f592e710" providerId="AD" clId="Web-{F448B036-0349-8976-DAC4-88BE6A4E488E}" dt="2023-11-20T03:53:44.751" v="36"/>
          <ac:picMkLst>
            <pc:docMk/>
            <pc:sldMk cId="3241722567" sldId="740"/>
            <ac:picMk id="6" creationId="{6A2DB26E-6744-46D7-9B18-327790791C96}"/>
          </ac:picMkLst>
        </pc:picChg>
        <pc:picChg chg="add mod">
          <ac:chgData name="LCaldarelli" userId="S::lcaldarelli_luriechildrens.org#ext#@nuwildcat.onmicrosoft.com::cd79b54d-c14e-4199-a04a-39c6f592e710" providerId="AD" clId="Web-{F448B036-0349-8976-DAC4-88BE6A4E488E}" dt="2023-11-20T03:54:36.861" v="41" actId="1076"/>
          <ac:picMkLst>
            <pc:docMk/>
            <pc:sldMk cId="3241722567" sldId="740"/>
            <ac:picMk id="10" creationId="{27AD21F3-6E15-AA0D-7CE8-DF86AF6A9758}"/>
          </ac:picMkLst>
        </pc:picChg>
      </pc:sldChg>
      <pc:sldChg chg="add replId">
        <pc:chgData name="LCaldarelli" userId="S::lcaldarelli_luriechildrens.org#ext#@nuwildcat.onmicrosoft.com::cd79b54d-c14e-4199-a04a-39c6f592e710" providerId="AD" clId="Web-{F448B036-0349-8976-DAC4-88BE6A4E488E}" dt="2023-11-20T04:44:50.075" v="270"/>
        <pc:sldMkLst>
          <pc:docMk/>
          <pc:sldMk cId="3838522428" sldId="741"/>
        </pc:sldMkLst>
      </pc:sldChg>
      <pc:sldChg chg="modSp add replId">
        <pc:chgData name="LCaldarelli" userId="S::lcaldarelli_luriechildrens.org#ext#@nuwildcat.onmicrosoft.com::cd79b54d-c14e-4199-a04a-39c6f592e710" providerId="AD" clId="Web-{F448B036-0349-8976-DAC4-88BE6A4E488E}" dt="2023-11-20T04:46:55.750" v="287" actId="14100"/>
        <pc:sldMkLst>
          <pc:docMk/>
          <pc:sldMk cId="2759565514" sldId="742"/>
        </pc:sldMkLst>
        <pc:spChg chg="mod">
          <ac:chgData name="LCaldarelli" userId="S::lcaldarelli_luriechildrens.org#ext#@nuwildcat.onmicrosoft.com::cd79b54d-c14e-4199-a04a-39c6f592e710" providerId="AD" clId="Web-{F448B036-0349-8976-DAC4-88BE6A4E488E}" dt="2023-11-20T04:46:55.750" v="287" actId="14100"/>
          <ac:spMkLst>
            <pc:docMk/>
            <pc:sldMk cId="2759565514" sldId="742"/>
            <ac:spMk id="2180" creationId="{00000000-0000-0000-0000-000000000000}"/>
          </ac:spMkLst>
        </pc:spChg>
      </pc:sldChg>
      <pc:sldChg chg="modSp add ord replId">
        <pc:chgData name="LCaldarelli" userId="S::lcaldarelli_luriechildrens.org#ext#@nuwildcat.onmicrosoft.com::cd79b54d-c14e-4199-a04a-39c6f592e710" providerId="AD" clId="Web-{F448B036-0349-8976-DAC4-88BE6A4E488E}" dt="2023-11-20T04:47:59.345" v="290" actId="1076"/>
        <pc:sldMkLst>
          <pc:docMk/>
          <pc:sldMk cId="1077647041" sldId="743"/>
        </pc:sldMkLst>
        <pc:spChg chg="mod">
          <ac:chgData name="LCaldarelli" userId="S::lcaldarelli_luriechildrens.org#ext#@nuwildcat.onmicrosoft.com::cd79b54d-c14e-4199-a04a-39c6f592e710" providerId="AD" clId="Web-{F448B036-0349-8976-DAC4-88BE6A4E488E}" dt="2023-11-20T04:47:59.345" v="290" actId="1076"/>
          <ac:spMkLst>
            <pc:docMk/>
            <pc:sldMk cId="1077647041" sldId="743"/>
            <ac:spMk id="23" creationId="{78B5A3B7-0107-74A6-42BE-EFADF14BEC3D}"/>
          </ac:spMkLst>
        </pc:spChg>
      </pc:sldChg>
      <pc:sldChg chg="add replId">
        <pc:chgData name="LCaldarelli" userId="S::lcaldarelli_luriechildrens.org#ext#@nuwildcat.onmicrosoft.com::cd79b54d-c14e-4199-a04a-39c6f592e710" providerId="AD" clId="Web-{F448B036-0349-8976-DAC4-88BE6A4E488E}" dt="2023-11-20T05:00:10.909" v="312"/>
        <pc:sldMkLst>
          <pc:docMk/>
          <pc:sldMk cId="2424722352" sldId="744"/>
        </pc:sldMkLst>
      </pc:sldChg>
    </pc:docChg>
  </pc:docChgLst>
  <pc:docChgLst>
    <pc:chgData name="Alana Rivera" userId="S::arg3669@ads.northwestern.edu::fc8b707a-b7e9-4f2a-8d71-2d76819b7881" providerId="AD" clId="Web-{35DF06BD-25AA-054F-4D8F-840FED1FA1E6}"/>
    <pc:docChg chg="modSld">
      <pc:chgData name="Alana Rivera" userId="S::arg3669@ads.northwestern.edu::fc8b707a-b7e9-4f2a-8d71-2d76819b7881" providerId="AD" clId="Web-{35DF06BD-25AA-054F-4D8F-840FED1FA1E6}" dt="2023-10-31T02:20:39.446" v="1" actId="20577"/>
      <pc:docMkLst>
        <pc:docMk/>
      </pc:docMkLst>
      <pc:sldChg chg="modSp">
        <pc:chgData name="Alana Rivera" userId="S::arg3669@ads.northwestern.edu::fc8b707a-b7e9-4f2a-8d71-2d76819b7881" providerId="AD" clId="Web-{35DF06BD-25AA-054F-4D8F-840FED1FA1E6}" dt="2023-10-31T02:20:39.446" v="1" actId="20577"/>
        <pc:sldMkLst>
          <pc:docMk/>
          <pc:sldMk cId="1522616096" sldId="555"/>
        </pc:sldMkLst>
        <pc:spChg chg="mod">
          <ac:chgData name="Alana Rivera" userId="S::arg3669@ads.northwestern.edu::fc8b707a-b7e9-4f2a-8d71-2d76819b7881" providerId="AD" clId="Web-{35DF06BD-25AA-054F-4D8F-840FED1FA1E6}" dt="2023-10-31T02:20:39.446" v="1" actId="20577"/>
          <ac:spMkLst>
            <pc:docMk/>
            <pc:sldMk cId="1522616096" sldId="555"/>
            <ac:spMk id="4" creationId="{3D49CA6C-78ED-3124-7EE3-BBDDC9988910}"/>
          </ac:spMkLst>
        </pc:spChg>
      </pc:sldChg>
    </pc:docChg>
  </pc:docChgLst>
  <pc:docChgLst>
    <pc:chgData name="Caldarelli, Leslie" userId="S::lcaldarelli_luriechildrens.org#ext#@nuwildcat.onmicrosoft.com::cd79b54d-c14e-4199-a04a-39c6f592e710" providerId="AD" clId="Web-{96B049F1-23A1-EFBD-700B-2889CC878206}"/>
    <pc:docChg chg="addSld delSld modSld">
      <pc:chgData name="Caldarelli, Leslie" userId="S::lcaldarelli_luriechildrens.org#ext#@nuwildcat.onmicrosoft.com::cd79b54d-c14e-4199-a04a-39c6f592e710" providerId="AD" clId="Web-{96B049F1-23A1-EFBD-700B-2889CC878206}" dt="2023-10-31T04:45:48.858" v="115"/>
      <pc:docMkLst>
        <pc:docMk/>
      </pc:docMkLst>
      <pc:sldChg chg="modSp">
        <pc:chgData name="Caldarelli, Leslie" userId="S::lcaldarelli_luriechildrens.org#ext#@nuwildcat.onmicrosoft.com::cd79b54d-c14e-4199-a04a-39c6f592e710" providerId="AD" clId="Web-{96B049F1-23A1-EFBD-700B-2889CC878206}" dt="2023-10-31T04:36:15.700" v="10" actId="1076"/>
        <pc:sldMkLst>
          <pc:docMk/>
          <pc:sldMk cId="3472964082" sldId="550"/>
        </pc:sldMkLst>
        <pc:spChg chg="mod">
          <ac:chgData name="Caldarelli, Leslie" userId="S::lcaldarelli_luriechildrens.org#ext#@nuwildcat.onmicrosoft.com::cd79b54d-c14e-4199-a04a-39c6f592e710" providerId="AD" clId="Web-{96B049F1-23A1-EFBD-700B-2889CC878206}" dt="2023-10-31T04:36:15.700" v="10" actId="1076"/>
          <ac:spMkLst>
            <pc:docMk/>
            <pc:sldMk cId="3472964082" sldId="550"/>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6:05.231" v="8" actId="14100"/>
        <pc:sldMkLst>
          <pc:docMk/>
          <pc:sldMk cId="2562283095" sldId="551"/>
        </pc:sldMkLst>
        <pc:spChg chg="mod">
          <ac:chgData name="Caldarelli, Leslie" userId="S::lcaldarelli_luriechildrens.org#ext#@nuwildcat.onmicrosoft.com::cd79b54d-c14e-4199-a04a-39c6f592e710" providerId="AD" clId="Web-{96B049F1-23A1-EFBD-700B-2889CC878206}" dt="2023-10-31T04:36:05.231" v="8" actId="14100"/>
          <ac:spMkLst>
            <pc:docMk/>
            <pc:sldMk cId="2562283095" sldId="551"/>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8:09.080" v="32" actId="1076"/>
        <pc:sldMkLst>
          <pc:docMk/>
          <pc:sldMk cId="714682852" sldId="552"/>
        </pc:sldMkLst>
        <pc:spChg chg="mod">
          <ac:chgData name="Caldarelli, Leslie" userId="S::lcaldarelli_luriechildrens.org#ext#@nuwildcat.onmicrosoft.com::cd79b54d-c14e-4199-a04a-39c6f592e710" providerId="AD" clId="Web-{96B049F1-23A1-EFBD-700B-2889CC878206}" dt="2023-10-31T04:38:09.080" v="32" actId="1076"/>
          <ac:spMkLst>
            <pc:docMk/>
            <pc:sldMk cId="714682852" sldId="552"/>
            <ac:spMk id="6" creationId="{D07E332C-4452-C8D5-59CC-C21023DE9083}"/>
          </ac:spMkLst>
        </pc:spChg>
      </pc:sldChg>
      <pc:sldChg chg="del">
        <pc:chgData name="Caldarelli, Leslie" userId="S::lcaldarelli_luriechildrens.org#ext#@nuwildcat.onmicrosoft.com::cd79b54d-c14e-4199-a04a-39c6f592e710" providerId="AD" clId="Web-{96B049F1-23A1-EFBD-700B-2889CC878206}" dt="2023-10-31T04:43:40.230" v="99"/>
        <pc:sldMkLst>
          <pc:docMk/>
          <pc:sldMk cId="613071383" sldId="561"/>
        </pc:sldMkLst>
      </pc:sldChg>
      <pc:sldChg chg="modSp modNotes">
        <pc:chgData name="Caldarelli, Leslie" userId="S::lcaldarelli_luriechildrens.org#ext#@nuwildcat.onmicrosoft.com::cd79b54d-c14e-4199-a04a-39c6f592e710" providerId="AD" clId="Web-{96B049F1-23A1-EFBD-700B-2889CC878206}" dt="2023-10-31T04:44:16.840" v="109"/>
        <pc:sldMkLst>
          <pc:docMk/>
          <pc:sldMk cId="1141815353" sldId="562"/>
        </pc:sldMkLst>
        <pc:spChg chg="mod">
          <ac:chgData name="Caldarelli, Leslie" userId="S::lcaldarelli_luriechildrens.org#ext#@nuwildcat.onmicrosoft.com::cd79b54d-c14e-4199-a04a-39c6f592e710" providerId="AD" clId="Web-{96B049F1-23A1-EFBD-700B-2889CC878206}" dt="2023-10-31T04:44:11.074" v="108" actId="1076"/>
          <ac:spMkLst>
            <pc:docMk/>
            <pc:sldMk cId="1141815353" sldId="562"/>
            <ac:spMk id="2" creationId="{05579FEB-3306-A04E-6516-F16994F3B0F9}"/>
          </ac:spMkLst>
        </pc:spChg>
      </pc:sldChg>
      <pc:sldChg chg="modSp">
        <pc:chgData name="Caldarelli, Leslie" userId="S::lcaldarelli_luriechildrens.org#ext#@nuwildcat.onmicrosoft.com::cd79b54d-c14e-4199-a04a-39c6f592e710" providerId="AD" clId="Web-{96B049F1-23A1-EFBD-700B-2889CC878206}" dt="2023-10-31T04:35:14.683" v="3" actId="14100"/>
        <pc:sldMkLst>
          <pc:docMk/>
          <pc:sldMk cId="3561966490" sldId="585"/>
        </pc:sldMkLst>
        <pc:spChg chg="mod">
          <ac:chgData name="Caldarelli, Leslie" userId="S::lcaldarelli_luriechildrens.org#ext#@nuwildcat.onmicrosoft.com::cd79b54d-c14e-4199-a04a-39c6f592e710" providerId="AD" clId="Web-{96B049F1-23A1-EFBD-700B-2889CC878206}" dt="2023-10-31T04:35:14.683" v="3" actId="14100"/>
          <ac:spMkLst>
            <pc:docMk/>
            <pc:sldMk cId="3561966490" sldId="585"/>
            <ac:spMk id="19"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5:05.339" v="1" actId="1076"/>
        <pc:sldMkLst>
          <pc:docMk/>
          <pc:sldMk cId="3809547791" sldId="586"/>
        </pc:sldMkLst>
        <pc:spChg chg="mod">
          <ac:chgData name="Caldarelli, Leslie" userId="S::lcaldarelli_luriechildrens.org#ext#@nuwildcat.onmicrosoft.com::cd79b54d-c14e-4199-a04a-39c6f592e710" providerId="AD" clId="Web-{96B049F1-23A1-EFBD-700B-2889CC878206}" dt="2023-10-31T04:34:57.432" v="0" actId="1076"/>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96B049F1-23A1-EFBD-700B-2889CC878206}" dt="2023-10-31T04:35:05.339" v="1" actId="1076"/>
          <ac:spMkLst>
            <pc:docMk/>
            <pc:sldMk cId="3809547791" sldId="586"/>
            <ac:spMk id="47" creationId="{B8E0B5F5-B6A2-711D-2F6F-422E5E01B221}"/>
          </ac:spMkLst>
        </pc:spChg>
      </pc:sldChg>
      <pc:sldChg chg="modNotes">
        <pc:chgData name="Caldarelli, Leslie" userId="S::lcaldarelli_luriechildrens.org#ext#@nuwildcat.onmicrosoft.com::cd79b54d-c14e-4199-a04a-39c6f592e710" providerId="AD" clId="Web-{96B049F1-23A1-EFBD-700B-2889CC878206}" dt="2023-10-31T04:45:48.858" v="115"/>
        <pc:sldMkLst>
          <pc:docMk/>
          <pc:sldMk cId="3557549611" sldId="639"/>
        </pc:sldMkLst>
      </pc:sldChg>
      <pc:sldChg chg="addSp delSp modSp">
        <pc:chgData name="Caldarelli, Leslie" userId="S::lcaldarelli_luriechildrens.org#ext#@nuwildcat.onmicrosoft.com::cd79b54d-c14e-4199-a04a-39c6f592e710" providerId="AD" clId="Web-{96B049F1-23A1-EFBD-700B-2889CC878206}" dt="2023-10-31T04:38:59.597" v="37" actId="1076"/>
        <pc:sldMkLst>
          <pc:docMk/>
          <pc:sldMk cId="2443892533" sldId="643"/>
        </pc:sldMkLst>
        <pc:spChg chg="add del">
          <ac:chgData name="Caldarelli, Leslie" userId="S::lcaldarelli_luriechildrens.org#ext#@nuwildcat.onmicrosoft.com::cd79b54d-c14e-4199-a04a-39c6f592e710" providerId="AD" clId="Web-{96B049F1-23A1-EFBD-700B-2889CC878206}" dt="2023-10-31T04:38:46.097" v="35"/>
          <ac:spMkLst>
            <pc:docMk/>
            <pc:sldMk cId="2443892533" sldId="643"/>
            <ac:spMk id="11" creationId="{581D0C8D-2C93-30F9-7F42-CCAD53566229}"/>
          </ac:spMkLst>
        </pc:spChg>
        <pc:picChg chg="del">
          <ac:chgData name="Caldarelli, Leslie" userId="S::lcaldarelli_luriechildrens.org#ext#@nuwildcat.onmicrosoft.com::cd79b54d-c14e-4199-a04a-39c6f592e710" providerId="AD" clId="Web-{96B049F1-23A1-EFBD-700B-2889CC878206}" dt="2023-10-31T04:38:37.643" v="34"/>
          <ac:picMkLst>
            <pc:docMk/>
            <pc:sldMk cId="2443892533" sldId="643"/>
            <ac:picMk id="6" creationId="{3066B4FD-BDBD-74CF-7224-C3F9CDFF7807}"/>
          </ac:picMkLst>
        </pc:picChg>
        <pc:picChg chg="add mod">
          <ac:chgData name="Caldarelli, Leslie" userId="S::lcaldarelli_luriechildrens.org#ext#@nuwildcat.onmicrosoft.com::cd79b54d-c14e-4199-a04a-39c6f592e710" providerId="AD" clId="Web-{96B049F1-23A1-EFBD-700B-2889CC878206}" dt="2023-10-31T04:38:59.597" v="37" actId="1076"/>
          <ac:picMkLst>
            <pc:docMk/>
            <pc:sldMk cId="2443892533" sldId="643"/>
            <ac:picMk id="12" creationId="{9D8440DA-935D-14D8-8E90-E43A542C29BF}"/>
          </ac:picMkLst>
        </pc:picChg>
      </pc:sldChg>
      <pc:sldChg chg="new del modNotes">
        <pc:chgData name="Caldarelli, Leslie" userId="S::lcaldarelli_luriechildrens.org#ext#@nuwildcat.onmicrosoft.com::cd79b54d-c14e-4199-a04a-39c6f592e710" providerId="AD" clId="Web-{96B049F1-23A1-EFBD-700B-2889CC878206}" dt="2023-10-31T04:40:30.584" v="55"/>
        <pc:sldMkLst>
          <pc:docMk/>
          <pc:sldMk cId="1086780328" sldId="644"/>
        </pc:sldMkLst>
      </pc:sldChg>
      <pc:sldChg chg="new del modNotes">
        <pc:chgData name="Caldarelli, Leslie" userId="S::lcaldarelli_luriechildrens.org#ext#@nuwildcat.onmicrosoft.com::cd79b54d-c14e-4199-a04a-39c6f592e710" providerId="AD" clId="Web-{96B049F1-23A1-EFBD-700B-2889CC878206}" dt="2023-10-31T04:43:35.714" v="98"/>
        <pc:sldMkLst>
          <pc:docMk/>
          <pc:sldMk cId="97814466" sldId="645"/>
        </pc:sldMkLst>
      </pc:sldChg>
      <pc:sldChg chg="modSp add replId modNotes">
        <pc:chgData name="Caldarelli, Leslie" userId="S::lcaldarelli_luriechildrens.org#ext#@nuwildcat.onmicrosoft.com::cd79b54d-c14e-4199-a04a-39c6f592e710" providerId="AD" clId="Web-{96B049F1-23A1-EFBD-700B-2889CC878206}" dt="2023-10-31T04:43:27.510" v="97" actId="20577"/>
        <pc:sldMkLst>
          <pc:docMk/>
          <pc:sldMk cId="226321953" sldId="646"/>
        </pc:sldMkLst>
        <pc:spChg chg="mod">
          <ac:chgData name="Caldarelli, Leslie" userId="S::lcaldarelli_luriechildrens.org#ext#@nuwildcat.onmicrosoft.com::cd79b54d-c14e-4199-a04a-39c6f592e710" providerId="AD" clId="Web-{96B049F1-23A1-EFBD-700B-2889CC878206}" dt="2023-10-31T04:43:27.510" v="97" actId="20577"/>
          <ac:spMkLst>
            <pc:docMk/>
            <pc:sldMk cId="226321953" sldId="646"/>
            <ac:spMk id="2" creationId="{966FAC69-62AA-D40E-C4BD-DAD5BF599C69}"/>
          </ac:spMkLst>
        </pc:spChg>
      </pc:sldChg>
      <pc:sldChg chg="add replId">
        <pc:chgData name="Caldarelli, Leslie" userId="S::lcaldarelli_luriechildrens.org#ext#@nuwildcat.onmicrosoft.com::cd79b54d-c14e-4199-a04a-39c6f592e710" providerId="AD" clId="Web-{96B049F1-23A1-EFBD-700B-2889CC878206}" dt="2023-10-31T04:41:40.695" v="84"/>
        <pc:sldMkLst>
          <pc:docMk/>
          <pc:sldMk cId="1661337475" sldId="647"/>
        </pc:sldMkLst>
      </pc:sldChg>
      <pc:sldChg chg="add replId">
        <pc:chgData name="Caldarelli, Leslie" userId="S::lcaldarelli_luriechildrens.org#ext#@nuwildcat.onmicrosoft.com::cd79b54d-c14e-4199-a04a-39c6f592e710" providerId="AD" clId="Web-{96B049F1-23A1-EFBD-700B-2889CC878206}" dt="2023-10-31T04:42:47.353" v="85"/>
        <pc:sldMkLst>
          <pc:docMk/>
          <pc:sldMk cId="641611787" sldId="648"/>
        </pc:sldMkLst>
      </pc:sldChg>
    </pc:docChg>
  </pc:docChgLst>
  <pc:docChgLst>
    <pc:chgData name="Alana Rivera" userId="S::arg3669@ads.northwestern.edu::fc8b707a-b7e9-4f2a-8d71-2d76819b7881" providerId="AD" clId="Web-{B6F32D0F-7EF8-C22A-D4AE-933B4E9674EC}"/>
    <pc:docChg chg="addSld delSld modSld">
      <pc:chgData name="Alana Rivera" userId="S::arg3669@ads.northwestern.edu::fc8b707a-b7e9-4f2a-8d71-2d76819b7881" providerId="AD" clId="Web-{B6F32D0F-7EF8-C22A-D4AE-933B4E9674EC}" dt="2023-10-24T04:39:00.705" v="171" actId="1076"/>
      <pc:docMkLst>
        <pc:docMk/>
      </pc:docMkLst>
      <pc:sldChg chg="addSp delSp modSp">
        <pc:chgData name="Alana Rivera" userId="S::arg3669@ads.northwestern.edu::fc8b707a-b7e9-4f2a-8d71-2d76819b7881" providerId="AD" clId="Web-{B6F32D0F-7EF8-C22A-D4AE-933B4E9674EC}" dt="2023-10-24T03:42:19.146" v="30" actId="1076"/>
        <pc:sldMkLst>
          <pc:docMk/>
          <pc:sldMk cId="3127921386" sldId="280"/>
        </pc:sldMkLst>
        <pc:spChg chg="mod">
          <ac:chgData name="Alana Rivera" userId="S::arg3669@ads.northwestern.edu::fc8b707a-b7e9-4f2a-8d71-2d76819b7881" providerId="AD" clId="Web-{B6F32D0F-7EF8-C22A-D4AE-933B4E9674EC}" dt="2023-10-24T03:41:54.802" v="25" actId="1076"/>
          <ac:spMkLst>
            <pc:docMk/>
            <pc:sldMk cId="3127921386" sldId="280"/>
            <ac:spMk id="3" creationId="{1D742501-F937-8041-84E5-748F96AE991B}"/>
          </ac:spMkLst>
        </pc:spChg>
        <pc:spChg chg="del">
          <ac:chgData name="Alana Rivera" userId="S::arg3669@ads.northwestern.edu::fc8b707a-b7e9-4f2a-8d71-2d76819b7881" providerId="AD" clId="Web-{B6F32D0F-7EF8-C22A-D4AE-933B4E9674EC}" dt="2023-10-24T03:42:06.005" v="26"/>
          <ac:spMkLst>
            <pc:docMk/>
            <pc:sldMk cId="3127921386" sldId="280"/>
            <ac:spMk id="4" creationId="{19922563-64D6-2A4E-B048-13AC25DB45AD}"/>
          </ac:spMkLst>
        </pc:spChg>
        <pc:spChg chg="add del mod">
          <ac:chgData name="Alana Rivera" userId="S::arg3669@ads.northwestern.edu::fc8b707a-b7e9-4f2a-8d71-2d76819b7881" providerId="AD" clId="Web-{B6F32D0F-7EF8-C22A-D4AE-933B4E9674EC}" dt="2023-10-24T03:40:43.425" v="10"/>
          <ac:spMkLst>
            <pc:docMk/>
            <pc:sldMk cId="3127921386" sldId="280"/>
            <ac:spMk id="6" creationId="{E0CA01DF-B159-7E00-0A28-663487A43E23}"/>
          </ac:spMkLst>
        </pc:spChg>
        <pc:spChg chg="add del mod">
          <ac:chgData name="Alana Rivera" userId="S::arg3669@ads.northwestern.edu::fc8b707a-b7e9-4f2a-8d71-2d76819b7881" providerId="AD" clId="Web-{B6F32D0F-7EF8-C22A-D4AE-933B4E9674EC}" dt="2023-10-24T03:42:15.037" v="29"/>
          <ac:spMkLst>
            <pc:docMk/>
            <pc:sldMk cId="3127921386" sldId="280"/>
            <ac:spMk id="8" creationId="{9B053BCB-F81B-7717-0313-99518A680707}"/>
          </ac:spMkLst>
        </pc:spChg>
        <pc:spChg chg="add mod">
          <ac:chgData name="Alana Rivera" userId="S::arg3669@ads.northwestern.edu::fc8b707a-b7e9-4f2a-8d71-2d76819b7881" providerId="AD" clId="Web-{B6F32D0F-7EF8-C22A-D4AE-933B4E9674EC}" dt="2023-10-24T03:42:19.146" v="30" actId="1076"/>
          <ac:spMkLst>
            <pc:docMk/>
            <pc:sldMk cId="3127921386" sldId="280"/>
            <ac:spMk id="9" creationId="{7F20A429-9947-F447-2DF2-A5C17B5C6EC1}"/>
          </ac:spMkLst>
        </pc:spChg>
        <pc:picChg chg="add mod">
          <ac:chgData name="Alana Rivera" userId="S::arg3669@ads.northwestern.edu::fc8b707a-b7e9-4f2a-8d71-2d76819b7881" providerId="AD" clId="Web-{B6F32D0F-7EF8-C22A-D4AE-933B4E9674EC}" dt="2023-10-24T03:41:04.082" v="13" actId="1076"/>
          <ac:picMkLst>
            <pc:docMk/>
            <pc:sldMk cId="3127921386" sldId="280"/>
            <ac:picMk id="2" creationId="{0D7C69D0-240C-8322-D521-66F461EE341B}"/>
          </ac:picMkLst>
        </pc:picChg>
        <pc:picChg chg="del mod">
          <ac:chgData name="Alana Rivera" userId="S::arg3669@ads.northwestern.edu::fc8b707a-b7e9-4f2a-8d71-2d76819b7881" providerId="AD" clId="Web-{B6F32D0F-7EF8-C22A-D4AE-933B4E9674EC}" dt="2023-10-24T03:40:29.909" v="6"/>
          <ac:picMkLst>
            <pc:docMk/>
            <pc:sldMk cId="3127921386" sldId="280"/>
            <ac:picMk id="25" creationId="{AFDEE866-04F7-BF46-8FB4-0968BA571C5D}"/>
          </ac:picMkLst>
        </pc:picChg>
      </pc:sldChg>
      <pc:sldChg chg="del">
        <pc:chgData name="Alana Rivera" userId="S::arg3669@ads.northwestern.edu::fc8b707a-b7e9-4f2a-8d71-2d76819b7881" providerId="AD" clId="Web-{B6F32D0F-7EF8-C22A-D4AE-933B4E9674EC}" dt="2023-10-24T03:20:44.965" v="3"/>
        <pc:sldMkLst>
          <pc:docMk/>
          <pc:sldMk cId="3252939964" sldId="282"/>
        </pc:sldMkLst>
      </pc:sldChg>
      <pc:sldChg chg="modSp">
        <pc:chgData name="Alana Rivera" userId="S::arg3669@ads.northwestern.edu::fc8b707a-b7e9-4f2a-8d71-2d76819b7881" providerId="AD" clId="Web-{B6F32D0F-7EF8-C22A-D4AE-933B4E9674EC}" dt="2023-10-24T03:19:53.541" v="2" actId="20577"/>
        <pc:sldMkLst>
          <pc:docMk/>
          <pc:sldMk cId="4044691067" sldId="283"/>
        </pc:sldMkLst>
        <pc:spChg chg="mod">
          <ac:chgData name="Alana Rivera" userId="S::arg3669@ads.northwestern.edu::fc8b707a-b7e9-4f2a-8d71-2d76819b7881" providerId="AD" clId="Web-{B6F32D0F-7EF8-C22A-D4AE-933B4E9674EC}" dt="2023-10-24T03:19:53.541" v="2" actId="20577"/>
          <ac:spMkLst>
            <pc:docMk/>
            <pc:sldMk cId="4044691067" sldId="283"/>
            <ac:spMk id="3" creationId="{00000000-0000-0000-0000-000000000000}"/>
          </ac:spMkLst>
        </pc:spChg>
      </pc:sldChg>
      <pc:sldChg chg="modSp">
        <pc:chgData name="Alana Rivera" userId="S::arg3669@ads.northwestern.edu::fc8b707a-b7e9-4f2a-8d71-2d76819b7881" providerId="AD" clId="Web-{B6F32D0F-7EF8-C22A-D4AE-933B4E9674EC}" dt="2023-10-24T03:42:36.294" v="31"/>
        <pc:sldMkLst>
          <pc:docMk/>
          <pc:sldMk cId="2338849283" sldId="290"/>
        </pc:sldMkLst>
        <pc:spChg chg="mod">
          <ac:chgData name="Alana Rivera" userId="S::arg3669@ads.northwestern.edu::fc8b707a-b7e9-4f2a-8d71-2d76819b7881" providerId="AD" clId="Web-{B6F32D0F-7EF8-C22A-D4AE-933B4E9674EC}" dt="2023-10-24T03:42:36.294" v="31"/>
          <ac:spMkLst>
            <pc:docMk/>
            <pc:sldMk cId="2338849283" sldId="290"/>
            <ac:spMk id="2" creationId="{04883840-FDEC-E449-F7BA-E78CCEC4DD34}"/>
          </ac:spMkLst>
        </pc:spChg>
      </pc:sldChg>
      <pc:sldChg chg="modSp">
        <pc:chgData name="Alana Rivera" userId="S::arg3669@ads.northwestern.edu::fc8b707a-b7e9-4f2a-8d71-2d76819b7881" providerId="AD" clId="Web-{B6F32D0F-7EF8-C22A-D4AE-933B4E9674EC}" dt="2023-10-24T03:43:25.296" v="46" actId="20577"/>
        <pc:sldMkLst>
          <pc:docMk/>
          <pc:sldMk cId="3635595752" sldId="545"/>
        </pc:sldMkLst>
        <pc:spChg chg="mod">
          <ac:chgData name="Alana Rivera" userId="S::arg3669@ads.northwestern.edu::fc8b707a-b7e9-4f2a-8d71-2d76819b7881" providerId="AD" clId="Web-{B6F32D0F-7EF8-C22A-D4AE-933B4E9674EC}" dt="2023-10-24T03:43:25.296" v="46" actId="20577"/>
          <ac:spMkLst>
            <pc:docMk/>
            <pc:sldMk cId="3635595752" sldId="545"/>
            <ac:spMk id="3" creationId="{BFE56240-A306-0E11-425A-7323821A42F2}"/>
          </ac:spMkLst>
        </pc:spChg>
      </pc:sldChg>
      <pc:sldChg chg="modSp">
        <pc:chgData name="Alana Rivera" userId="S::arg3669@ads.northwestern.edu::fc8b707a-b7e9-4f2a-8d71-2d76819b7881" providerId="AD" clId="Web-{B6F32D0F-7EF8-C22A-D4AE-933B4E9674EC}" dt="2023-10-24T04:10:37.837" v="47" actId="1076"/>
        <pc:sldMkLst>
          <pc:docMk/>
          <pc:sldMk cId="3845418986" sldId="563"/>
        </pc:sldMkLst>
        <pc:spChg chg="mod">
          <ac:chgData name="Alana Rivera" userId="S::arg3669@ads.northwestern.edu::fc8b707a-b7e9-4f2a-8d71-2d76819b7881" providerId="AD" clId="Web-{B6F32D0F-7EF8-C22A-D4AE-933B4E9674EC}" dt="2023-10-24T04:10:37.837" v="47" actId="1076"/>
          <ac:spMkLst>
            <pc:docMk/>
            <pc:sldMk cId="3845418986" sldId="563"/>
            <ac:spMk id="44" creationId="{00000000-0000-0000-0000-000000000000}"/>
          </ac:spMkLst>
        </pc:spChg>
      </pc:sldChg>
      <pc:sldChg chg="addSp modSp add">
        <pc:chgData name="Alana Rivera" userId="S::arg3669@ads.northwestern.edu::fc8b707a-b7e9-4f2a-8d71-2d76819b7881" providerId="AD" clId="Web-{B6F32D0F-7EF8-C22A-D4AE-933B4E9674EC}" dt="2023-10-24T04:27:47.156" v="116" actId="1076"/>
        <pc:sldMkLst>
          <pc:docMk/>
          <pc:sldMk cId="2564870475" sldId="566"/>
        </pc:sldMkLst>
        <pc:spChg chg="mod">
          <ac:chgData name="Alana Rivera" userId="S::arg3669@ads.northwestern.edu::fc8b707a-b7e9-4f2a-8d71-2d76819b7881" providerId="AD" clId="Web-{B6F32D0F-7EF8-C22A-D4AE-933B4E9674EC}" dt="2023-10-24T04:22:26.665" v="60" actId="1076"/>
          <ac:spMkLst>
            <pc:docMk/>
            <pc:sldMk cId="2564870475" sldId="566"/>
            <ac:spMk id="2" creationId="{00000000-0000-0000-0000-000000000000}"/>
          </ac:spMkLst>
        </pc:spChg>
        <pc:spChg chg="mod">
          <ac:chgData name="Alana Rivera" userId="S::arg3669@ads.northwestern.edu::fc8b707a-b7e9-4f2a-8d71-2d76819b7881" providerId="AD" clId="Web-{B6F32D0F-7EF8-C22A-D4AE-933B4E9674EC}" dt="2023-10-24T04:22:32.259" v="61" actId="1076"/>
          <ac:spMkLst>
            <pc:docMk/>
            <pc:sldMk cId="2564870475" sldId="566"/>
            <ac:spMk id="12" creationId="{00000000-0000-0000-0000-000000000000}"/>
          </ac:spMkLst>
        </pc:spChg>
        <pc:spChg chg="mod">
          <ac:chgData name="Alana Rivera" userId="S::arg3669@ads.northwestern.edu::fc8b707a-b7e9-4f2a-8d71-2d76819b7881" providerId="AD" clId="Web-{B6F32D0F-7EF8-C22A-D4AE-933B4E9674EC}" dt="2023-10-24T04:22:35.009" v="62" actId="1076"/>
          <ac:spMkLst>
            <pc:docMk/>
            <pc:sldMk cId="2564870475" sldId="566"/>
            <ac:spMk id="15" creationId="{00000000-0000-0000-0000-000000000000}"/>
          </ac:spMkLst>
        </pc:spChg>
        <pc:spChg chg="add mod">
          <ac:chgData name="Alana Rivera" userId="S::arg3669@ads.northwestern.edu::fc8b707a-b7e9-4f2a-8d71-2d76819b7881" providerId="AD" clId="Web-{B6F32D0F-7EF8-C22A-D4AE-933B4E9674EC}" dt="2023-10-24T04:22:38.759" v="63" actId="1076"/>
          <ac:spMkLst>
            <pc:docMk/>
            <pc:sldMk cId="2564870475" sldId="566"/>
            <ac:spMk id="23" creationId="{78B5A3B7-0107-74A6-42BE-EFADF14BEC3D}"/>
          </ac:spMkLst>
        </pc:spChg>
        <pc:picChg chg="add mod">
          <ac:chgData name="Alana Rivera" userId="S::arg3669@ads.northwestern.edu::fc8b707a-b7e9-4f2a-8d71-2d76819b7881" providerId="AD" clId="Web-{B6F32D0F-7EF8-C22A-D4AE-933B4E9674EC}" dt="2023-10-24T04:27:47.156" v="116" actId="1076"/>
          <ac:picMkLst>
            <pc:docMk/>
            <pc:sldMk cId="2564870475" sldId="566"/>
            <ac:picMk id="24" creationId="{BB2CB55F-0790-7175-FF6E-777FF2A900CC}"/>
          </ac:picMkLst>
        </pc:picChg>
      </pc:sldChg>
      <pc:sldChg chg="addSp delSp modSp add del replId">
        <pc:chgData name="Alana Rivera" userId="S::arg3669@ads.northwestern.edu::fc8b707a-b7e9-4f2a-8d71-2d76819b7881" providerId="AD" clId="Web-{B6F32D0F-7EF8-C22A-D4AE-933B4E9674EC}" dt="2023-10-24T04:39:00.705" v="171" actId="1076"/>
        <pc:sldMkLst>
          <pc:docMk/>
          <pc:sldMk cId="310672773" sldId="567"/>
        </pc:sldMkLst>
        <pc:spChg chg="mod">
          <ac:chgData name="Alana Rivera" userId="S::arg3669@ads.northwestern.edu::fc8b707a-b7e9-4f2a-8d71-2d76819b7881" providerId="AD" clId="Web-{B6F32D0F-7EF8-C22A-D4AE-933B4E9674EC}" dt="2023-10-24T04:27:59.609" v="118" actId="1076"/>
          <ac:spMkLst>
            <pc:docMk/>
            <pc:sldMk cId="310672773" sldId="567"/>
            <ac:spMk id="24" creationId="{00000000-0000-0000-0000-000000000000}"/>
          </ac:spMkLst>
        </pc:spChg>
        <pc:spChg chg="mod">
          <ac:chgData name="Alana Rivera" userId="S::arg3669@ads.northwestern.edu::fc8b707a-b7e9-4f2a-8d71-2d76819b7881" providerId="AD" clId="Web-{B6F32D0F-7EF8-C22A-D4AE-933B4E9674EC}" dt="2023-10-24T04:28:20.360" v="121" actId="1076"/>
          <ac:spMkLst>
            <pc:docMk/>
            <pc:sldMk cId="310672773" sldId="567"/>
            <ac:spMk id="25" creationId="{00000000-0000-0000-0000-000000000000}"/>
          </ac:spMkLst>
        </pc:spChg>
        <pc:spChg chg="del">
          <ac:chgData name="Alana Rivera" userId="S::arg3669@ads.northwestern.edu::fc8b707a-b7e9-4f2a-8d71-2d76819b7881" providerId="AD" clId="Web-{B6F32D0F-7EF8-C22A-D4AE-933B4E9674EC}" dt="2023-10-24T04:23:18.681" v="68"/>
          <ac:spMkLst>
            <pc:docMk/>
            <pc:sldMk cId="310672773" sldId="567"/>
            <ac:spMk id="26" creationId="{00000000-0000-0000-0000-000000000000}"/>
          </ac:spMkLst>
        </pc:spChg>
        <pc:spChg chg="del">
          <ac:chgData name="Alana Rivera" userId="S::arg3669@ads.northwestern.edu::fc8b707a-b7e9-4f2a-8d71-2d76819b7881" providerId="AD" clId="Web-{B6F32D0F-7EF8-C22A-D4AE-933B4E9674EC}" dt="2023-10-24T04:23:44.541" v="72"/>
          <ac:spMkLst>
            <pc:docMk/>
            <pc:sldMk cId="310672773" sldId="567"/>
            <ac:spMk id="27" creationId="{00000000-0000-0000-0000-000000000000}"/>
          </ac:spMkLst>
        </pc:spChg>
        <pc:spChg chg="del">
          <ac:chgData name="Alana Rivera" userId="S::arg3669@ads.northwestern.edu::fc8b707a-b7e9-4f2a-8d71-2d76819b7881" providerId="AD" clId="Web-{B6F32D0F-7EF8-C22A-D4AE-933B4E9674EC}" dt="2023-10-24T04:23:54.120" v="77"/>
          <ac:spMkLst>
            <pc:docMk/>
            <pc:sldMk cId="310672773" sldId="567"/>
            <ac:spMk id="28" creationId="{00000000-0000-0000-0000-000000000000}"/>
          </ac:spMkLst>
        </pc:spChg>
        <pc:spChg chg="del">
          <ac:chgData name="Alana Rivera" userId="S::arg3669@ads.northwestern.edu::fc8b707a-b7e9-4f2a-8d71-2d76819b7881" providerId="AD" clId="Web-{B6F32D0F-7EF8-C22A-D4AE-933B4E9674EC}" dt="2023-10-24T04:24:20.777" v="92"/>
          <ac:spMkLst>
            <pc:docMk/>
            <pc:sldMk cId="310672773" sldId="567"/>
            <ac:spMk id="29" creationId="{00000000-0000-0000-0000-000000000000}"/>
          </ac:spMkLst>
        </pc:spChg>
        <pc:spChg chg="del">
          <ac:chgData name="Alana Rivera" userId="S::arg3669@ads.northwestern.edu::fc8b707a-b7e9-4f2a-8d71-2d76819b7881" providerId="AD" clId="Web-{B6F32D0F-7EF8-C22A-D4AE-933B4E9674EC}" dt="2023-10-24T04:24:00.464" v="81"/>
          <ac:spMkLst>
            <pc:docMk/>
            <pc:sldMk cId="310672773" sldId="567"/>
            <ac:spMk id="30" creationId="{00000000-0000-0000-0000-000000000000}"/>
          </ac:spMkLst>
        </pc:spChg>
        <pc:spChg chg="del">
          <ac:chgData name="Alana Rivera" userId="S::arg3669@ads.northwestern.edu::fc8b707a-b7e9-4f2a-8d71-2d76819b7881" providerId="AD" clId="Web-{B6F32D0F-7EF8-C22A-D4AE-933B4E9674EC}" dt="2023-10-24T04:24:14.964" v="88"/>
          <ac:spMkLst>
            <pc:docMk/>
            <pc:sldMk cId="310672773" sldId="567"/>
            <ac:spMk id="32" creationId="{00000000-0000-0000-0000-000000000000}"/>
          </ac:spMkLst>
        </pc:spChg>
        <pc:spChg chg="del mod">
          <ac:chgData name="Alana Rivera" userId="S::arg3669@ads.northwestern.edu::fc8b707a-b7e9-4f2a-8d71-2d76819b7881" providerId="AD" clId="Web-{B6F32D0F-7EF8-C22A-D4AE-933B4E9674EC}" dt="2023-10-24T04:23:44.651" v="74"/>
          <ac:spMkLst>
            <pc:docMk/>
            <pc:sldMk cId="310672773" sldId="567"/>
            <ac:spMk id="33" creationId="{00000000-0000-0000-0000-000000000000}"/>
          </ac:spMkLst>
        </pc:spChg>
        <pc:spChg chg="del">
          <ac:chgData name="Alana Rivera" userId="S::arg3669@ads.northwestern.edu::fc8b707a-b7e9-4f2a-8d71-2d76819b7881" providerId="AD" clId="Web-{B6F32D0F-7EF8-C22A-D4AE-933B4E9674EC}" dt="2023-10-24T04:23:45.291" v="75"/>
          <ac:spMkLst>
            <pc:docMk/>
            <pc:sldMk cId="310672773" sldId="567"/>
            <ac:spMk id="34" creationId="{00000000-0000-0000-0000-000000000000}"/>
          </ac:spMkLst>
        </pc:spChg>
        <pc:spChg chg="del">
          <ac:chgData name="Alana Rivera" userId="S::arg3669@ads.northwestern.edu::fc8b707a-b7e9-4f2a-8d71-2d76819b7881" providerId="AD" clId="Web-{B6F32D0F-7EF8-C22A-D4AE-933B4E9674EC}" dt="2023-10-24T04:23:50.291" v="76"/>
          <ac:spMkLst>
            <pc:docMk/>
            <pc:sldMk cId="310672773" sldId="567"/>
            <ac:spMk id="35" creationId="{00000000-0000-0000-0000-000000000000}"/>
          </ac:spMkLst>
        </pc:spChg>
        <pc:spChg chg="del">
          <ac:chgData name="Alana Rivera" userId="S::arg3669@ads.northwestern.edu::fc8b707a-b7e9-4f2a-8d71-2d76819b7881" providerId="AD" clId="Web-{B6F32D0F-7EF8-C22A-D4AE-933B4E9674EC}" dt="2023-10-24T04:24:25.667" v="95"/>
          <ac:spMkLst>
            <pc:docMk/>
            <pc:sldMk cId="310672773" sldId="567"/>
            <ac:spMk id="36" creationId="{00000000-0000-0000-0000-000000000000}"/>
          </ac:spMkLst>
        </pc:spChg>
        <pc:spChg chg="del">
          <ac:chgData name="Alana Rivera" userId="S::arg3669@ads.northwestern.edu::fc8b707a-b7e9-4f2a-8d71-2d76819b7881" providerId="AD" clId="Web-{B6F32D0F-7EF8-C22A-D4AE-933B4E9674EC}" dt="2023-10-24T04:24:24.511" v="94"/>
          <ac:spMkLst>
            <pc:docMk/>
            <pc:sldMk cId="310672773" sldId="567"/>
            <ac:spMk id="37" creationId="{00000000-0000-0000-0000-000000000000}"/>
          </ac:spMkLst>
        </pc:spChg>
        <pc:spChg chg="del">
          <ac:chgData name="Alana Rivera" userId="S::arg3669@ads.northwestern.edu::fc8b707a-b7e9-4f2a-8d71-2d76819b7881" providerId="AD" clId="Web-{B6F32D0F-7EF8-C22A-D4AE-933B4E9674EC}" dt="2023-10-24T04:24:04.448" v="84"/>
          <ac:spMkLst>
            <pc:docMk/>
            <pc:sldMk cId="310672773" sldId="567"/>
            <ac:spMk id="38" creationId="{00000000-0000-0000-0000-000000000000}"/>
          </ac:spMkLst>
        </pc:spChg>
        <pc:spChg chg="del">
          <ac:chgData name="Alana Rivera" userId="S::arg3669@ads.northwestern.edu::fc8b707a-b7e9-4f2a-8d71-2d76819b7881" providerId="AD" clId="Web-{B6F32D0F-7EF8-C22A-D4AE-933B4E9674EC}" dt="2023-10-24T04:24:04.339" v="83"/>
          <ac:spMkLst>
            <pc:docMk/>
            <pc:sldMk cId="310672773" sldId="567"/>
            <ac:spMk id="39" creationId="{00000000-0000-0000-0000-000000000000}"/>
          </ac:spMkLst>
        </pc:spChg>
        <pc:spChg chg="del">
          <ac:chgData name="Alana Rivera" userId="S::arg3669@ads.northwestern.edu::fc8b707a-b7e9-4f2a-8d71-2d76819b7881" providerId="AD" clId="Web-{B6F32D0F-7EF8-C22A-D4AE-933B4E9674EC}" dt="2023-10-24T04:24:10.636" v="86"/>
          <ac:spMkLst>
            <pc:docMk/>
            <pc:sldMk cId="310672773" sldId="567"/>
            <ac:spMk id="40" creationId="{00000000-0000-0000-0000-000000000000}"/>
          </ac:spMkLst>
        </pc:spChg>
        <pc:spChg chg="del">
          <ac:chgData name="Alana Rivera" userId="S::arg3669@ads.northwestern.edu::fc8b707a-b7e9-4f2a-8d71-2d76819b7881" providerId="AD" clId="Web-{B6F32D0F-7EF8-C22A-D4AE-933B4E9674EC}" dt="2023-10-24T04:24:05.776" v="85"/>
          <ac:spMkLst>
            <pc:docMk/>
            <pc:sldMk cId="310672773" sldId="567"/>
            <ac:spMk id="41" creationId="{00000000-0000-0000-0000-000000000000}"/>
          </ac:spMkLst>
        </pc:spChg>
        <pc:spChg chg="del">
          <ac:chgData name="Alana Rivera" userId="S::arg3669@ads.northwestern.edu::fc8b707a-b7e9-4f2a-8d71-2d76819b7881" providerId="AD" clId="Web-{B6F32D0F-7EF8-C22A-D4AE-933B4E9674EC}" dt="2023-10-24T04:24:15.058" v="90"/>
          <ac:spMkLst>
            <pc:docMk/>
            <pc:sldMk cId="310672773" sldId="567"/>
            <ac:spMk id="42" creationId="{00000000-0000-0000-0000-000000000000}"/>
          </ac:spMkLst>
        </pc:spChg>
        <pc:spChg chg="del">
          <ac:chgData name="Alana Rivera" userId="S::arg3669@ads.northwestern.edu::fc8b707a-b7e9-4f2a-8d71-2d76819b7881" providerId="AD" clId="Web-{B6F32D0F-7EF8-C22A-D4AE-933B4E9674EC}" dt="2023-10-24T04:24:16.573" v="91"/>
          <ac:spMkLst>
            <pc:docMk/>
            <pc:sldMk cId="310672773" sldId="567"/>
            <ac:spMk id="43" creationId="{00000000-0000-0000-0000-000000000000}"/>
          </ac:spMkLst>
        </pc:spChg>
        <pc:spChg chg="mod">
          <ac:chgData name="Alana Rivera" userId="S::arg3669@ads.northwestern.edu::fc8b707a-b7e9-4f2a-8d71-2d76819b7881" providerId="AD" clId="Web-{B6F32D0F-7EF8-C22A-D4AE-933B4E9674EC}" dt="2023-10-24T04:28:16.641" v="120" actId="1076"/>
          <ac:spMkLst>
            <pc:docMk/>
            <pc:sldMk cId="310672773" sldId="567"/>
            <ac:spMk id="44" creationId="{00000000-0000-0000-0000-000000000000}"/>
          </ac:spMkLst>
        </pc:spChg>
        <pc:spChg chg="mod">
          <ac:chgData name="Alana Rivera" userId="S::arg3669@ads.northwestern.edu::fc8b707a-b7e9-4f2a-8d71-2d76819b7881" providerId="AD" clId="Web-{B6F32D0F-7EF8-C22A-D4AE-933B4E9674EC}" dt="2023-10-24T04:39:00.705" v="171" actId="1076"/>
          <ac:spMkLst>
            <pc:docMk/>
            <pc:sldMk cId="310672773" sldId="567"/>
            <ac:spMk id="45" creationId="{00000000-0000-0000-0000-000000000000}"/>
          </ac:spMkLst>
        </pc:spChg>
        <pc:spChg chg="del">
          <ac:chgData name="Alana Rivera" userId="S::arg3669@ads.northwestern.edu::fc8b707a-b7e9-4f2a-8d71-2d76819b7881" providerId="AD" clId="Web-{B6F32D0F-7EF8-C22A-D4AE-933B4E9674EC}" dt="2023-10-24T04:23:54.292" v="79"/>
          <ac:spMkLst>
            <pc:docMk/>
            <pc:sldMk cId="310672773" sldId="567"/>
            <ac:spMk id="46" creationId="{00000000-0000-0000-0000-000000000000}"/>
          </ac:spMkLst>
        </pc:spChg>
        <pc:spChg chg="del">
          <ac:chgData name="Alana Rivera" userId="S::arg3669@ads.northwestern.edu::fc8b707a-b7e9-4f2a-8d71-2d76819b7881" providerId="AD" clId="Web-{B6F32D0F-7EF8-C22A-D4AE-933B4E9674EC}" dt="2023-10-24T04:23:44.604" v="73"/>
          <ac:spMkLst>
            <pc:docMk/>
            <pc:sldMk cId="310672773" sldId="567"/>
            <ac:spMk id="47" creationId="{00000000-0000-0000-0000-000000000000}"/>
          </ac:spMkLst>
        </pc:spChg>
        <pc:spChg chg="del">
          <ac:chgData name="Alana Rivera" userId="S::arg3669@ads.northwestern.edu::fc8b707a-b7e9-4f2a-8d71-2d76819b7881" providerId="AD" clId="Web-{B6F32D0F-7EF8-C22A-D4AE-933B4E9674EC}" dt="2023-10-24T04:23:24.260" v="69"/>
          <ac:spMkLst>
            <pc:docMk/>
            <pc:sldMk cId="310672773" sldId="567"/>
            <ac:spMk id="48" creationId="{00000000-0000-0000-0000-000000000000}"/>
          </ac:spMkLst>
        </pc:spChg>
        <pc:spChg chg="del mod">
          <ac:chgData name="Alana Rivera" userId="S::arg3669@ads.northwestern.edu::fc8b707a-b7e9-4f2a-8d71-2d76819b7881" providerId="AD" clId="Web-{B6F32D0F-7EF8-C22A-D4AE-933B4E9674EC}" dt="2023-10-24T04:38:51.142" v="170"/>
          <ac:spMkLst>
            <pc:docMk/>
            <pc:sldMk cId="310672773" sldId="567"/>
            <ac:spMk id="49" creationId="{00000000-0000-0000-0000-000000000000}"/>
          </ac:spMkLst>
        </pc:spChg>
        <pc:spChg chg="add mod">
          <ac:chgData name="Alana Rivera" userId="S::arg3669@ads.northwestern.edu::fc8b707a-b7e9-4f2a-8d71-2d76819b7881" providerId="AD" clId="Web-{B6F32D0F-7EF8-C22A-D4AE-933B4E9674EC}" dt="2023-10-24T04:36:55.296" v="154" actId="14100"/>
          <ac:spMkLst>
            <pc:docMk/>
            <pc:sldMk cId="310672773" sldId="567"/>
            <ac:spMk id="50" creationId="{95B469C3-D645-40A9-B8DD-54193E200864}"/>
          </ac:spMkLst>
        </pc:spChg>
        <pc:spChg chg="add mod">
          <ac:chgData name="Alana Rivera" userId="S::arg3669@ads.northwestern.edu::fc8b707a-b7e9-4f2a-8d71-2d76819b7881" providerId="AD" clId="Web-{B6F32D0F-7EF8-C22A-D4AE-933B4E9674EC}" dt="2023-10-24T04:38:00.282" v="165" actId="20577"/>
          <ac:spMkLst>
            <pc:docMk/>
            <pc:sldMk cId="310672773" sldId="567"/>
            <ac:spMk id="51" creationId="{30D625CB-EE41-128F-FC0A-4E5883BC18EC}"/>
          </ac:spMkLst>
        </pc:spChg>
        <pc:spChg chg="add mod">
          <ac:chgData name="Alana Rivera" userId="S::arg3669@ads.northwestern.edu::fc8b707a-b7e9-4f2a-8d71-2d76819b7881" providerId="AD" clId="Web-{B6F32D0F-7EF8-C22A-D4AE-933B4E9674EC}" dt="2023-10-24T04:37:30.500" v="158" actId="1076"/>
          <ac:spMkLst>
            <pc:docMk/>
            <pc:sldMk cId="310672773" sldId="567"/>
            <ac:spMk id="52" creationId="{E8A77D57-8EE2-88D3-5381-D8E92995DA02}"/>
          </ac:spMkLst>
        </pc:spChg>
        <pc:spChg chg="add mod">
          <ac:chgData name="Alana Rivera" userId="S::arg3669@ads.northwestern.edu::fc8b707a-b7e9-4f2a-8d71-2d76819b7881" providerId="AD" clId="Web-{B6F32D0F-7EF8-C22A-D4AE-933B4E9674EC}" dt="2023-10-24T04:38:40.939" v="168"/>
          <ac:spMkLst>
            <pc:docMk/>
            <pc:sldMk cId="310672773" sldId="567"/>
            <ac:spMk id="53" creationId="{FBAF7918-02CE-7D9C-B338-0825A2E5C3E6}"/>
          </ac:spMkLst>
        </pc:spChg>
        <pc:grpChg chg="del">
          <ac:chgData name="Alana Rivera" userId="S::arg3669@ads.northwestern.edu::fc8b707a-b7e9-4f2a-8d71-2d76819b7881" providerId="AD" clId="Web-{B6F32D0F-7EF8-C22A-D4AE-933B4E9674EC}" dt="2023-10-24T04:23:55.401" v="80"/>
          <ac:grpSpMkLst>
            <pc:docMk/>
            <pc:sldMk cId="310672773" sldId="567"/>
            <ac:grpSpMk id="2" creationId="{00000000-0000-0000-0000-000000000000}"/>
          </ac:grpSpMkLst>
        </pc:grpChg>
        <pc:grpChg chg="del">
          <ac:chgData name="Alana Rivera" userId="S::arg3669@ads.northwestern.edu::fc8b707a-b7e9-4f2a-8d71-2d76819b7881" providerId="AD" clId="Web-{B6F32D0F-7EF8-C22A-D4AE-933B4E9674EC}" dt="2023-10-24T04:23:40.604" v="71"/>
          <ac:grpSpMkLst>
            <pc:docMk/>
            <pc:sldMk cId="310672773" sldId="567"/>
            <ac:grpSpMk id="5" creationId="{00000000-0000-0000-0000-000000000000}"/>
          </ac:grpSpMkLst>
        </pc:grpChg>
        <pc:grpChg chg="del">
          <ac:chgData name="Alana Rivera" userId="S::arg3669@ads.northwestern.edu::fc8b707a-b7e9-4f2a-8d71-2d76819b7881" providerId="AD" clId="Web-{B6F32D0F-7EF8-C22A-D4AE-933B4E9674EC}" dt="2023-10-24T04:24:04.292" v="82"/>
          <ac:grpSpMkLst>
            <pc:docMk/>
            <pc:sldMk cId="310672773" sldId="567"/>
            <ac:grpSpMk id="8" creationId="{00000000-0000-0000-0000-000000000000}"/>
          </ac:grpSpMkLst>
        </pc:grpChg>
        <pc:grpChg chg="del">
          <ac:chgData name="Alana Rivera" userId="S::arg3669@ads.northwestern.edu::fc8b707a-b7e9-4f2a-8d71-2d76819b7881" providerId="AD" clId="Web-{B6F32D0F-7EF8-C22A-D4AE-933B4E9674EC}" dt="2023-10-24T04:23:54.245" v="78"/>
          <ac:grpSpMkLst>
            <pc:docMk/>
            <pc:sldMk cId="310672773" sldId="567"/>
            <ac:grpSpMk id="11" creationId="{00000000-0000-0000-0000-000000000000}"/>
          </ac:grpSpMkLst>
        </pc:grpChg>
        <pc:grpChg chg="del">
          <ac:chgData name="Alana Rivera" userId="S::arg3669@ads.northwestern.edu::fc8b707a-b7e9-4f2a-8d71-2d76819b7881" providerId="AD" clId="Web-{B6F32D0F-7EF8-C22A-D4AE-933B4E9674EC}" dt="2023-10-24T04:24:14.870" v="87"/>
          <ac:grpSpMkLst>
            <pc:docMk/>
            <pc:sldMk cId="310672773" sldId="567"/>
            <ac:grpSpMk id="14" creationId="{00000000-0000-0000-0000-000000000000}"/>
          </ac:grpSpMkLst>
        </pc:grpChg>
        <pc:grpChg chg="del">
          <ac:chgData name="Alana Rivera" userId="S::arg3669@ads.northwestern.edu::fc8b707a-b7e9-4f2a-8d71-2d76819b7881" providerId="AD" clId="Web-{B6F32D0F-7EF8-C22A-D4AE-933B4E9674EC}" dt="2023-10-24T04:24:24.448" v="93"/>
          <ac:grpSpMkLst>
            <pc:docMk/>
            <pc:sldMk cId="310672773" sldId="567"/>
            <ac:grpSpMk id="17" creationId="{00000000-0000-0000-0000-000000000000}"/>
          </ac:grpSpMkLst>
        </pc:grpChg>
        <pc:grpChg chg="del">
          <ac:chgData name="Alana Rivera" userId="S::arg3669@ads.northwestern.edu::fc8b707a-b7e9-4f2a-8d71-2d76819b7881" providerId="AD" clId="Web-{B6F32D0F-7EF8-C22A-D4AE-933B4E9674EC}" dt="2023-10-24T04:24:14.980" v="89"/>
          <ac:grpSpMkLst>
            <pc:docMk/>
            <pc:sldMk cId="310672773" sldId="567"/>
            <ac:grpSpMk id="20" creationId="{00000000-0000-0000-0000-000000000000}"/>
          </ac:grpSpMkLst>
        </pc:grpChg>
      </pc:sldChg>
    </pc:docChg>
  </pc:docChgLst>
  <pc:docChgLst>
    <pc:chgData name="Eileen Fleming Suse" userId="S::efs3844@ads.northwestern.edu::725c94ef-d051-42d7-9d33-8572765d592b" providerId="AD" clId="Web-{525C70A3-2AD6-57EA-9F7E-A6FC0841DEBD}"/>
    <pc:docChg chg="mod addSld modSld sldOrd">
      <pc:chgData name="Eileen Fleming Suse" userId="S::efs3844@ads.northwestern.edu::725c94ef-d051-42d7-9d33-8572765d592b" providerId="AD" clId="Web-{525C70A3-2AD6-57EA-9F7E-A6FC0841DEBD}" dt="2023-10-23T23:00:26.391" v="20"/>
      <pc:docMkLst>
        <pc:docMk/>
      </pc:docMkLst>
      <pc:sldChg chg="addCm">
        <pc:chgData name="Eileen Fleming Suse" userId="S::efs3844@ads.northwestern.edu::725c94ef-d051-42d7-9d33-8572765d592b" providerId="AD" clId="Web-{525C70A3-2AD6-57EA-9F7E-A6FC0841DEBD}" dt="2023-10-23T18:53:43.980" v="2"/>
        <pc:sldMkLst>
          <pc:docMk/>
          <pc:sldMk cId="2351229145" sldId="544"/>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525C70A3-2AD6-57EA-9F7E-A6FC0841DEBD}" dt="2023-10-23T18:53:43.980" v="2"/>
              <pc2:cmMkLst xmlns:pc2="http://schemas.microsoft.com/office/powerpoint/2019/9/main/command">
                <pc:docMk/>
                <pc:sldMk cId="2351229145" sldId="544"/>
                <pc2:cmMk id="{94040B62-D001-43B9-8FD0-0A8B0C9B684C}"/>
              </pc2:cmMkLst>
            </pc226:cmChg>
          </p:ext>
        </pc:extLst>
      </pc:sldChg>
      <pc:sldChg chg="add ord">
        <pc:chgData name="Eileen Fleming Suse" userId="S::efs3844@ads.northwestern.edu::725c94ef-d051-42d7-9d33-8572765d592b" providerId="AD" clId="Web-{525C70A3-2AD6-57EA-9F7E-A6FC0841DEBD}" dt="2023-10-23T22:34:05.799" v="12"/>
        <pc:sldMkLst>
          <pc:docMk/>
          <pc:sldMk cId="714682852" sldId="552"/>
        </pc:sldMkLst>
      </pc:sldChg>
      <pc:sldChg chg="add">
        <pc:chgData name="Eileen Fleming Suse" userId="S::efs3844@ads.northwestern.edu::725c94ef-d051-42d7-9d33-8572765d592b" providerId="AD" clId="Web-{525C70A3-2AD6-57EA-9F7E-A6FC0841DEBD}" dt="2023-10-23T22:32:28.515" v="4"/>
        <pc:sldMkLst>
          <pc:docMk/>
          <pc:sldMk cId="3536510335" sldId="553"/>
        </pc:sldMkLst>
      </pc:sldChg>
      <pc:sldChg chg="add">
        <pc:chgData name="Eileen Fleming Suse" userId="S::efs3844@ads.northwestern.edu::725c94ef-d051-42d7-9d33-8572765d592b" providerId="AD" clId="Web-{525C70A3-2AD6-57EA-9F7E-A6FC0841DEBD}" dt="2023-10-23T22:32:29.500" v="5"/>
        <pc:sldMkLst>
          <pc:docMk/>
          <pc:sldMk cId="1231844700" sldId="554"/>
        </pc:sldMkLst>
      </pc:sldChg>
      <pc:sldChg chg="add">
        <pc:chgData name="Eileen Fleming Suse" userId="S::efs3844@ads.northwestern.edu::725c94ef-d051-42d7-9d33-8572765d592b" providerId="AD" clId="Web-{525C70A3-2AD6-57EA-9F7E-A6FC0841DEBD}" dt="2023-10-23T22:32:30.546" v="6"/>
        <pc:sldMkLst>
          <pc:docMk/>
          <pc:sldMk cId="1522616096" sldId="555"/>
        </pc:sldMkLst>
      </pc:sldChg>
      <pc:sldChg chg="modSp add">
        <pc:chgData name="Eileen Fleming Suse" userId="S::efs3844@ads.northwestern.edu::725c94ef-d051-42d7-9d33-8572765d592b" providerId="AD" clId="Web-{525C70A3-2AD6-57EA-9F7E-A6FC0841DEBD}" dt="2023-10-23T22:32:56.500" v="9" actId="20577"/>
        <pc:sldMkLst>
          <pc:docMk/>
          <pc:sldMk cId="1514756035" sldId="556"/>
        </pc:sldMkLst>
        <pc:spChg chg="mod">
          <ac:chgData name="Eileen Fleming Suse" userId="S::efs3844@ads.northwestern.edu::725c94ef-d051-42d7-9d33-8572765d592b" providerId="AD" clId="Web-{525C70A3-2AD6-57EA-9F7E-A6FC0841DEBD}" dt="2023-10-23T22:32:56.500" v="9" actId="20577"/>
          <ac:spMkLst>
            <pc:docMk/>
            <pc:sldMk cId="1514756035" sldId="556"/>
            <ac:spMk id="48" creationId="{9DA002CE-213B-0EFE-03DC-C3DB65BCF003}"/>
          </ac:spMkLst>
        </pc:spChg>
      </pc:sldChg>
      <pc:sldChg chg="delSp add">
        <pc:chgData name="Eileen Fleming Suse" userId="S::efs3844@ads.northwestern.edu::725c94ef-d051-42d7-9d33-8572765d592b" providerId="AD" clId="Web-{525C70A3-2AD6-57EA-9F7E-A6FC0841DEBD}" dt="2023-10-23T22:33:47.314" v="11"/>
        <pc:sldMkLst>
          <pc:docMk/>
          <pc:sldMk cId="2997078466" sldId="557"/>
        </pc:sldMkLst>
        <pc:spChg chg="del">
          <ac:chgData name="Eileen Fleming Suse" userId="S::efs3844@ads.northwestern.edu::725c94ef-d051-42d7-9d33-8572765d592b" providerId="AD" clId="Web-{525C70A3-2AD6-57EA-9F7E-A6FC0841DEBD}" dt="2023-10-23T22:33:47.314" v="11"/>
          <ac:spMkLst>
            <pc:docMk/>
            <pc:sldMk cId="2997078466" sldId="557"/>
            <ac:spMk id="3" creationId="{519453C4-D641-E6F9-196B-26AF5EFCC40A}"/>
          </ac:spMkLst>
        </pc:spChg>
      </pc:sldChg>
      <pc:sldChg chg="modSp mod modClrScheme chgLayout">
        <pc:chgData name="Eileen Fleming Suse" userId="S::efs3844@ads.northwestern.edu::725c94ef-d051-42d7-9d33-8572765d592b" providerId="AD" clId="Web-{525C70A3-2AD6-57EA-9F7E-A6FC0841DEBD}" dt="2023-10-23T22:59:09.760" v="13"/>
        <pc:sldMkLst>
          <pc:docMk/>
          <pc:sldMk cId="202185053" sldId="559"/>
        </pc:sldMkLst>
        <pc:spChg chg="mod ord">
          <ac:chgData name="Eileen Fleming Suse" userId="S::efs3844@ads.northwestern.edu::725c94ef-d051-42d7-9d33-8572765d592b" providerId="AD" clId="Web-{525C70A3-2AD6-57EA-9F7E-A6FC0841DEBD}" dt="2023-10-23T22:59:09.760" v="13"/>
          <ac:spMkLst>
            <pc:docMk/>
            <pc:sldMk cId="202185053" sldId="559"/>
            <ac:spMk id="2" creationId="{4DA6F726-268B-D1E3-168E-B1D635F770C9}"/>
          </ac:spMkLst>
        </pc:spChg>
        <pc:spChg chg="mod ord">
          <ac:chgData name="Eileen Fleming Suse" userId="S::efs3844@ads.northwestern.edu::725c94ef-d051-42d7-9d33-8572765d592b" providerId="AD" clId="Web-{525C70A3-2AD6-57EA-9F7E-A6FC0841DEBD}" dt="2023-10-23T22:59:09.760" v="13"/>
          <ac:spMkLst>
            <pc:docMk/>
            <pc:sldMk cId="202185053" sldId="559"/>
            <ac:spMk id="3" creationId="{97C35C3F-414A-0BEC-2B1F-CEADE5601055}"/>
          </ac:spMkLst>
        </pc:spChg>
      </pc:sldChg>
      <pc:sldChg chg="new">
        <pc:chgData name="Eileen Fleming Suse" userId="S::efs3844@ads.northwestern.edu::725c94ef-d051-42d7-9d33-8572765d592b" providerId="AD" clId="Web-{525C70A3-2AD6-57EA-9F7E-A6FC0841DEBD}" dt="2023-10-23T22:59:48.498" v="14"/>
        <pc:sldMkLst>
          <pc:docMk/>
          <pc:sldMk cId="3067427377" sldId="560"/>
        </pc:sldMkLst>
      </pc:sldChg>
      <pc:sldChg chg="modSp new">
        <pc:chgData name="Eileen Fleming Suse" userId="S::efs3844@ads.northwestern.edu::725c94ef-d051-42d7-9d33-8572765d592b" providerId="AD" clId="Web-{525C70A3-2AD6-57EA-9F7E-A6FC0841DEBD}" dt="2023-10-23T23:00:13.859" v="18" actId="20577"/>
        <pc:sldMkLst>
          <pc:docMk/>
          <pc:sldMk cId="613071383" sldId="561"/>
        </pc:sldMkLst>
        <pc:spChg chg="mod">
          <ac:chgData name="Eileen Fleming Suse" userId="S::efs3844@ads.northwestern.edu::725c94ef-d051-42d7-9d33-8572765d592b" providerId="AD" clId="Web-{525C70A3-2AD6-57EA-9F7E-A6FC0841DEBD}" dt="2023-10-23T23:00:13.859" v="18" actId="20577"/>
          <ac:spMkLst>
            <pc:docMk/>
            <pc:sldMk cId="613071383" sldId="561"/>
            <ac:spMk id="2" creationId="{3E76F914-FD90-77EF-B54F-DA5B2A3B6B40}"/>
          </ac:spMkLst>
        </pc:spChg>
      </pc:sldChg>
      <pc:sldChg chg="modSp new mod modClrScheme chgLayout">
        <pc:chgData name="Eileen Fleming Suse" userId="S::efs3844@ads.northwestern.edu::725c94ef-d051-42d7-9d33-8572765d592b" providerId="AD" clId="Web-{525C70A3-2AD6-57EA-9F7E-A6FC0841DEBD}" dt="2023-10-23T23:00:26.391" v="20"/>
        <pc:sldMkLst>
          <pc:docMk/>
          <pc:sldMk cId="1141815353" sldId="562"/>
        </pc:sldMkLst>
        <pc:spChg chg="mod ord">
          <ac:chgData name="Eileen Fleming Suse" userId="S::efs3844@ads.northwestern.edu::725c94ef-d051-42d7-9d33-8572765d592b" providerId="AD" clId="Web-{525C70A3-2AD6-57EA-9F7E-A6FC0841DEBD}" dt="2023-10-23T23:00:26.391" v="20"/>
          <ac:spMkLst>
            <pc:docMk/>
            <pc:sldMk cId="1141815353" sldId="562"/>
            <ac:spMk id="2" creationId="{05579FEB-3306-A04E-6516-F16994F3B0F9}"/>
          </ac:spMkLst>
        </pc:spChg>
        <pc:spChg chg="mod ord">
          <ac:chgData name="Eileen Fleming Suse" userId="S::efs3844@ads.northwestern.edu::725c94ef-d051-42d7-9d33-8572765d592b" providerId="AD" clId="Web-{525C70A3-2AD6-57EA-9F7E-A6FC0841DEBD}" dt="2023-10-23T23:00:26.391" v="20"/>
          <ac:spMkLst>
            <pc:docMk/>
            <pc:sldMk cId="1141815353" sldId="562"/>
            <ac:spMk id="3" creationId="{FAB96473-F45F-5893-CEB0-FAFF66B2B444}"/>
          </ac:spMkLst>
        </pc:spChg>
      </pc:sldChg>
      <pc:sldMasterChg chg="addSldLayout">
        <pc:chgData name="Eileen Fleming Suse" userId="S::efs3844@ads.northwestern.edu::725c94ef-d051-42d7-9d33-8572765d592b" providerId="AD" clId="Web-{525C70A3-2AD6-57EA-9F7E-A6FC0841DEBD}" dt="2023-10-23T22:32:27.671" v="3"/>
        <pc:sldMasterMkLst>
          <pc:docMk/>
          <pc:sldMasterMk cId="3378073280" sldId="2147483756"/>
        </pc:sldMasterMkLst>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922533" sldId="2147483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5841725" sldId="2147483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10596175" sldId="2147483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16315189" sldId="2147483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08025" sldId="2147483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3792943" sldId="2147483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5092572" sldId="2147483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8716721" sldId="2147483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45037749" sldId="2147483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6002367" sldId="2147483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39855488" sldId="2147483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21826003" sldId="2147483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75499530" sldId="2147483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3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3561641" sldId="2147483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5267698" sldId="21474838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75297497" sldId="21474838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78663217" sldId="21474838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20774020" sldId="2147483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34594192" sldId="21474838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6315279" sldId="21474838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1317895" sldId="2147483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00288109" sldId="2147483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6376101" sldId="2147483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2886451" sldId="2147483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6159376" sldId="2147483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8616943" sldId="21474838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6938417" sldId="21474838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3550571" sldId="21474838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0877040" sldId="21474838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8574274" sldId="2147483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5471929" sldId="2147483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278594" sldId="2147483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9404483" sldId="2147483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3478424" sldId="21474838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59098044" sldId="21474838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45276364" sldId="21474838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8021461" sldId="21474838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989584" sldId="21474838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75864542" sldId="21474838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8282302" sldId="21474838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104982" sldId="21474838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5372134" sldId="21474838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7828020" sldId="21474838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27648628" sldId="21474838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6122543" sldId="21474838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2054694" sldId="21474838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9055294" sldId="21474838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6171260" sldId="21474838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0090535" sldId="21474838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7921214" sldId="21474838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920976" sldId="21474838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5804420" sldId="21474838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585276" sldId="21474839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09666298" sldId="21474839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6760714" sldId="21474839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5649411" sldId="2147483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1432267" sldId="2147483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80461207" sldId="2147483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3984959" sldId="2147483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066305" sldId="21474839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7638659" sldId="21474839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40099" sldId="2147483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8764591" sldId="2147483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19800057" sldId="21474839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11585504" sldId="2147483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22746103" sldId="21474839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5694009" sldId="21474839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54029526" sldId="21474839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9059292" sldId="21474839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4868132" sldId="21474839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0792940" sldId="21474839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783795" sldId="21474839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0660955" sldId="21474839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64467406" sldId="21474839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677796" sldId="21474839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1248361" sldId="2147483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1683148" sldId="2147483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6612349" sldId="2147483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1684694" sldId="2147483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2325930" sldId="2147483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981547" sldId="21474839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2479938" sldId="21474839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6296709" sldId="21474839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70922304" sldId="21474839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55432313" sldId="21474839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9056666" sldId="21474839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967696" sldId="21474839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446465" sldId="21474839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0798543" sldId="2147483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8675539" sldId="21474839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23011711" sldId="21474839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36372206" sldId="21474839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2031328" sldId="21474839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270537" sldId="21474839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4610509" sldId="21474839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50515904" sldId="21474839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53644344" sldId="21474839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30798206" sldId="21474839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2990995" sldId="21474839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53374" sldId="21474839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4834593" sldId="21474839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43003970" sldId="21474839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7355230" sldId="21474839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1400287" sldId="21474839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946972" sldId="21474839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1562560" sldId="21474839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6479413" sldId="21474839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9622913" sldId="21474839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7336188" sldId="21474839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520332" sldId="21474839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8489293" sldId="2147483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040569" sldId="21474839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21105823" sldId="2147483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5772397" sldId="2147483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1901327" sldId="2147483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1352467" sldId="2147483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2305507" sldId="2147483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45177511" sldId="21474839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6909929" sldId="21474839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8498237" sldId="21474839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6365882" sldId="21474839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08656322" sldId="21474839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0473943" sldId="2147483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5550117" sldId="2147484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5824695" sldId="2147484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42248109" sldId="2147484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8249061" sldId="21474840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5655145" sldId="21474840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2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4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2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3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3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3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3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3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3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3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3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3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43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3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4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43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4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4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3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4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3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4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3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4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4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4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4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4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4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5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5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5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5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5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5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6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6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6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46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46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46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6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6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46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46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6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7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7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7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7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7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7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7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8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8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8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8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8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48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8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8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8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8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48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4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4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2224325" sldId="2147484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10812348" sldId="2147484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4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5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5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5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5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5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5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5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8347992" sldId="2147485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018680" sldId="2147485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2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3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5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3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3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4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2254879" sldId="2147485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54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4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4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4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55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5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5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5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5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5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5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5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5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2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2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2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6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6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6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13001559" sldId="2147486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6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63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6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63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63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6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6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6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3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4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4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4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4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4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4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64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64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4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4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6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6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9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69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6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6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1410609" sldId="21474870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7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7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70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70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70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70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91578072" sldId="21474870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79854312" sldId="21474870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2318659" sldId="2147487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8904194" sldId="21474870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3035621" sldId="21474870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34488667" sldId="21474870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4238912" sldId="21474870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2020187" sldId="21474870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81955522" sldId="21474870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2453738" sldId="21474870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74233" sldId="21474870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1771967" sldId="21474870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14228870" sldId="21474870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8015493" sldId="21474870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1810783" sldId="21474870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296633" sldId="21474870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3854968" sldId="21474870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78744679" sldId="21474870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6376476" sldId="21474870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3775063" sldId="21474870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34956318" sldId="2147487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88786427" sldId="21474870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18415549" sldId="21474870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21326" sldId="21474870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71903" sldId="21474870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4324019" sldId="21474870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538390" sldId="21474870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1446120" sldId="21474870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32493380" sldId="21474870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45280055" sldId="21474870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48434812" sldId="21474870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5592603" sldId="21474870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2427770" sldId="2147487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94052774" sldId="2147487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7862978" sldId="2147487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877181" sldId="2147487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50889900" sldId="2147487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56107529" sldId="2147487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04698859" sldId="2147487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61201835" sldId="2147487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538182" sldId="2147487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45375" sldId="21474870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32901630" sldId="2147487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1840102" sldId="2147487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9779657" sldId="2147487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91043975" sldId="2147487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7739039" sldId="2147487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34936126" sldId="2147487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73437552" sldId="2147487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8328559" sldId="2147487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386569" sldId="2147487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65731875" sldId="2147487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43182943" sldId="21474870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854147" sldId="21474870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9986855" sldId="21474870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8186423" sldId="21474870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4781546" sldId="21474870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2901995" sldId="21474870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08658575" sldId="21474870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9532752" sldId="21474870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47643842" sldId="2147487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3045463" sldId="21474870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02931972" sldId="21474870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024431" sldId="21474870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5505364" sldId="21474870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60285631" sldId="21474870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8619597" sldId="21474870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82738" sldId="21474871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4587918" sldId="21474871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9084614" sldId="21474871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14221174" sldId="21474871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3290789" sldId="21474871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322304" sldId="21474871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03393694" sldId="21474871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2589500" sldId="21474871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53485271" sldId="21474871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95870651" sldId="21474871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28825244" sldId="21474871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9238068" sldId="21474871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49862182" sldId="21474871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3852016" sldId="21474871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3736809" sldId="21474871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4184684" sldId="21474871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9434678" sldId="21474871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68056590" sldId="21474871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19438968" sldId="21474871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3871782" sldId="21474871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5694493" sldId="21474871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3350505" sldId="21474871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99849130" sldId="21474871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1595628" sldId="21474871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09251650" sldId="21474871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2428475" sldId="21474871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9805404" sldId="21474871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702167" sldId="21474871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7713067" sldId="21474871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73097338" sldId="21474871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6179664" sldId="21474871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493336" sldId="21474871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4977627" sldId="21474871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4355322" sldId="21474871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9001456" sldId="21474871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1880748" sldId="21474871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9786099" sldId="21474871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9168792" sldId="21474871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8112831" sldId="21474871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3635138" sldId="21474871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2360139" sldId="21474871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39256970" sldId="21474871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04300062" sldId="21474871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71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71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71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1914057" sldId="21474871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4230286" sldId="2147487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2798914" sldId="21474871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1199215" sldId="21474871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515799" sldId="21474871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36128" sldId="21474871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3270214" sldId="21474871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964228" sldId="21474871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03719949" sldId="21474871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90515151" sldId="21474871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8274380" sldId="21474871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08841809" sldId="21474871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3686679" sldId="2147487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04450066" sldId="2147487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65481949" sldId="2147487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01019" sldId="2147487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7914573" sldId="2147487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2775852" sldId="21474872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7288010" sldId="21474872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25519462" sldId="21474872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98032396" sldId="2147487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4125666" sldId="2147487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25845292" sldId="2147487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388239" sldId="21474872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8412230" sldId="21474872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7651266" sldId="21474872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18896833" sldId="21474872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82089770" sldId="21474872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758517" sldId="2147487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3406442" sldId="2147487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7243743" sldId="2147487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65875377" sldId="2147487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4216092" sldId="21474872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1876091" sldId="21474872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1815734" sldId="21474872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5213743" sldId="21474872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114809" sldId="21474872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810016" sldId="2147487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47740735" sldId="21474872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95849402" sldId="2147487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2217939" sldId="21474872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9127" sldId="2147487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32741348" sldId="21474872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42047047" sldId="2147487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98479306" sldId="21474872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5636675" sldId="21474872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4065546" sldId="2147487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016611" sldId="21474872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954738" sldId="21474872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710091" sldId="21474872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2430371" sldId="21474872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88036761" sldId="2147487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2342115" sldId="2147487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4054778" sldId="2147487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6486368" sldId="21474872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70705443" sldId="21474872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020355" sldId="2147487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208845" sldId="2147487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29070028" sldId="2147487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9649185" sldId="2147487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8626561" sldId="2147487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6538025" sldId="2147487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4847678" sldId="2147487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3649414" sldId="2147487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7111013" sldId="21474872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00008366" sldId="21474872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18321361" sldId="21474872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9555195" sldId="21474872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1522953" sldId="21474872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668804" sldId="21474872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01862111" sldId="21474872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7949696" sldId="21474872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6907520" sldId="21474872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62774728" sldId="21474873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27363329" sldId="21474873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9463894" sldId="21474873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2727692" sldId="21474873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647170" sldId="21474873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6791542" sldId="21474873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69632276" sldId="21474873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43247745" sldId="21474873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63663494" sldId="21474873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7839732" sldId="21474873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29198981" sldId="21474873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0579671" sldId="21474873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1955889" sldId="21474873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69414299" sldId="21474873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972729" sldId="21474873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1926387" sldId="21474873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86669273" sldId="2147487349"/>
          </pc:sldLayoutMkLst>
        </pc:sldLayoutChg>
      </pc:sldMasterChg>
    </pc:docChg>
  </pc:docChgLst>
  <pc:docChgLst>
    <pc:chgData name="justin" userId="S::justin_josephsen.org#ext#@nuwildcat.onmicrosoft.com::59076b92-ce89-4586-91d8-5ddb5cd2b89a" providerId="AD" clId="Web-{6299E2EC-AA5F-793A-628C-EBCF8BF5D2B0}"/>
    <pc:docChg chg="modSld">
      <pc:chgData name="justin" userId="S::justin_josephsen.org#ext#@nuwildcat.onmicrosoft.com::59076b92-ce89-4586-91d8-5ddb5cd2b89a" providerId="AD" clId="Web-{6299E2EC-AA5F-793A-628C-EBCF8BF5D2B0}" dt="2023-11-20T14:40:33.879" v="1" actId="20577"/>
      <pc:docMkLst>
        <pc:docMk/>
      </pc:docMkLst>
      <pc:sldChg chg="modSp">
        <pc:chgData name="justin" userId="S::justin_josephsen.org#ext#@nuwildcat.onmicrosoft.com::59076b92-ce89-4586-91d8-5ddb5cd2b89a" providerId="AD" clId="Web-{6299E2EC-AA5F-793A-628C-EBCF8BF5D2B0}" dt="2023-11-20T14:40:33.879" v="1" actId="20577"/>
        <pc:sldMkLst>
          <pc:docMk/>
          <pc:sldMk cId="102026260" sldId="720"/>
        </pc:sldMkLst>
        <pc:spChg chg="mod">
          <ac:chgData name="justin" userId="S::justin_josephsen.org#ext#@nuwildcat.onmicrosoft.com::59076b92-ce89-4586-91d8-5ddb5cd2b89a" providerId="AD" clId="Web-{6299E2EC-AA5F-793A-628C-EBCF8BF5D2B0}" dt="2023-11-20T14:40:33.879" v="1" actId="20577"/>
          <ac:spMkLst>
            <pc:docMk/>
            <pc:sldMk cId="102026260" sldId="720"/>
            <ac:spMk id="9" creationId="{98150912-7A4D-8CF4-F429-183917B0EF9E}"/>
          </ac:spMkLst>
        </pc:spChg>
      </pc:sldChg>
    </pc:docChg>
  </pc:docChgLst>
  <pc:docChgLst>
    <pc:chgData name="Eileen Fleming Suse" userId="S::efs3844@ads.northwestern.edu::725c94ef-d051-42d7-9d33-8572765d592b" providerId="AD" clId="Web-{9EA480BD-2ABC-0E67-CCB3-672E9005EA21}"/>
    <pc:docChg chg="modSld">
      <pc:chgData name="Eileen Fleming Suse" userId="S::efs3844@ads.northwestern.edu::725c94ef-d051-42d7-9d33-8572765d592b" providerId="AD" clId="Web-{9EA480BD-2ABC-0E67-CCB3-672E9005EA21}" dt="2023-10-31T18:53:54.682" v="108" actId="20577"/>
      <pc:docMkLst>
        <pc:docMk/>
      </pc:docMkLst>
      <pc:sldChg chg="modNotes">
        <pc:chgData name="Eileen Fleming Suse" userId="S::efs3844@ads.northwestern.edu::725c94ef-d051-42d7-9d33-8572765d592b" providerId="AD" clId="Web-{9EA480BD-2ABC-0E67-CCB3-672E9005EA21}" dt="2023-10-31T18:38:51.875" v="17"/>
        <pc:sldMkLst>
          <pc:docMk/>
          <pc:sldMk cId="3536510335" sldId="553"/>
        </pc:sldMkLst>
      </pc:sldChg>
      <pc:sldChg chg="modNotes">
        <pc:chgData name="Eileen Fleming Suse" userId="S::efs3844@ads.northwestern.edu::725c94ef-d051-42d7-9d33-8572765d592b" providerId="AD" clId="Web-{9EA480BD-2ABC-0E67-CCB3-672E9005EA21}" dt="2023-10-31T18:42:48.819" v="18"/>
        <pc:sldMkLst>
          <pc:docMk/>
          <pc:sldMk cId="1514756035" sldId="556"/>
        </pc:sldMkLst>
      </pc:sldChg>
      <pc:sldChg chg="modSp">
        <pc:chgData name="Eileen Fleming Suse" userId="S::efs3844@ads.northwestern.edu::725c94ef-d051-42d7-9d33-8572765d592b" providerId="AD" clId="Web-{9EA480BD-2ABC-0E67-CCB3-672E9005EA21}" dt="2023-10-31T18:47:22.061" v="50" actId="20577"/>
        <pc:sldMkLst>
          <pc:docMk/>
          <pc:sldMk cId="3067427377" sldId="560"/>
        </pc:sldMkLst>
        <pc:spChg chg="mod">
          <ac:chgData name="Eileen Fleming Suse" userId="S::efs3844@ads.northwestern.edu::725c94ef-d051-42d7-9d33-8572765d592b" providerId="AD" clId="Web-{9EA480BD-2ABC-0E67-CCB3-672E9005EA21}" dt="2023-10-31T18:47:22.061" v="50" actId="20577"/>
          <ac:spMkLst>
            <pc:docMk/>
            <pc:sldMk cId="3067427377" sldId="560"/>
            <ac:spMk id="3" creationId="{E7ECD19B-85BC-6652-2856-676802964CFA}"/>
          </ac:spMkLst>
        </pc:spChg>
      </pc:sldChg>
      <pc:sldChg chg="modSp">
        <pc:chgData name="Eileen Fleming Suse" userId="S::efs3844@ads.northwestern.edu::725c94ef-d051-42d7-9d33-8572765d592b" providerId="AD" clId="Web-{9EA480BD-2ABC-0E67-CCB3-672E9005EA21}" dt="2023-10-31T18:46:04.106" v="29" actId="1076"/>
        <pc:sldMkLst>
          <pc:docMk/>
          <pc:sldMk cId="3809547791" sldId="586"/>
        </pc:sldMkLst>
        <pc:spChg chg="mod">
          <ac:chgData name="Eileen Fleming Suse" userId="S::efs3844@ads.northwestern.edu::725c94ef-d051-42d7-9d33-8572765d592b" providerId="AD" clId="Web-{9EA480BD-2ABC-0E67-CCB3-672E9005EA21}" dt="2023-10-31T18:46:04.106" v="29" actId="1076"/>
          <ac:spMkLst>
            <pc:docMk/>
            <pc:sldMk cId="3809547791" sldId="586"/>
            <ac:spMk id="38" creationId="{00000000-0000-0000-0000-000000000000}"/>
          </ac:spMkLst>
        </pc:spChg>
        <pc:spChg chg="mod">
          <ac:chgData name="Eileen Fleming Suse" userId="S::efs3844@ads.northwestern.edu::725c94ef-d051-42d7-9d33-8572765d592b" providerId="AD" clId="Web-{9EA480BD-2ABC-0E67-CCB3-672E9005EA21}" dt="2023-10-31T18:45:13.026" v="22" actId="14100"/>
          <ac:spMkLst>
            <pc:docMk/>
            <pc:sldMk cId="3809547791" sldId="586"/>
            <ac:spMk id="39" creationId="{00000000-0000-0000-0000-000000000000}"/>
          </ac:spMkLst>
        </pc:spChg>
        <pc:spChg chg="mod">
          <ac:chgData name="Eileen Fleming Suse" userId="S::efs3844@ads.northwestern.edu::725c94ef-d051-42d7-9d33-8572765d592b" providerId="AD" clId="Web-{9EA480BD-2ABC-0E67-CCB3-672E9005EA21}" dt="2023-10-31T18:45:53.184" v="27" actId="1076"/>
          <ac:spMkLst>
            <pc:docMk/>
            <pc:sldMk cId="3809547791" sldId="586"/>
            <ac:spMk id="40" creationId="{00000000-0000-0000-0000-000000000000}"/>
          </ac:spMkLst>
        </pc:spChg>
        <pc:spChg chg="mod">
          <ac:chgData name="Eileen Fleming Suse" userId="S::efs3844@ads.northwestern.edu::725c94ef-d051-42d7-9d33-8572765d592b" providerId="AD" clId="Web-{9EA480BD-2ABC-0E67-CCB3-672E9005EA21}" dt="2023-10-31T18:45:33.839" v="25" actId="14100"/>
          <ac:spMkLst>
            <pc:docMk/>
            <pc:sldMk cId="3809547791" sldId="586"/>
            <ac:spMk id="43" creationId="{00000000-0000-0000-0000-000000000000}"/>
          </ac:spMkLst>
        </pc:spChg>
        <pc:grpChg chg="mod">
          <ac:chgData name="Eileen Fleming Suse" userId="S::efs3844@ads.northwestern.edu::725c94ef-d051-42d7-9d33-8572765d592b" providerId="AD" clId="Web-{9EA480BD-2ABC-0E67-CCB3-672E9005EA21}" dt="2023-10-31T18:45:29.558" v="24" actId="14100"/>
          <ac:grpSpMkLst>
            <pc:docMk/>
            <pc:sldMk cId="3809547791" sldId="586"/>
            <ac:grpSpMk id="14" creationId="{00000000-0000-0000-0000-000000000000}"/>
          </ac:grpSpMkLst>
        </pc:grpChg>
        <pc:grpChg chg="mod">
          <ac:chgData name="Eileen Fleming Suse" userId="S::efs3844@ads.northwestern.edu::725c94ef-d051-42d7-9d33-8572765d592b" providerId="AD" clId="Web-{9EA480BD-2ABC-0E67-CCB3-672E9005EA21}" dt="2023-10-31T18:45:57.090" v="28" actId="14100"/>
          <ac:grpSpMkLst>
            <pc:docMk/>
            <pc:sldMk cId="3809547791" sldId="586"/>
            <ac:grpSpMk id="17" creationId="{00000000-0000-0000-0000-000000000000}"/>
          </ac:grpSpMkLst>
        </pc:grpChg>
        <pc:grpChg chg="mod">
          <ac:chgData name="Eileen Fleming Suse" userId="S::efs3844@ads.northwestern.edu::725c94ef-d051-42d7-9d33-8572765d592b" providerId="AD" clId="Web-{9EA480BD-2ABC-0E67-CCB3-672E9005EA21}" dt="2023-10-31T18:45:49.215" v="26" actId="1076"/>
          <ac:grpSpMkLst>
            <pc:docMk/>
            <pc:sldMk cId="3809547791" sldId="586"/>
            <ac:grpSpMk id="23" creationId="{00000000-0000-0000-0000-000000000000}"/>
          </ac:grpSpMkLst>
        </pc:grpChg>
      </pc:sldChg>
      <pc:sldChg chg="modSp">
        <pc:chgData name="Eileen Fleming Suse" userId="S::efs3844@ads.northwestern.edu::725c94ef-d051-42d7-9d33-8572765d592b" providerId="AD" clId="Web-{9EA480BD-2ABC-0E67-CCB3-672E9005EA21}" dt="2023-10-31T18:47:45.734" v="54" actId="1076"/>
        <pc:sldMkLst>
          <pc:docMk/>
          <pc:sldMk cId="2443892533" sldId="643"/>
        </pc:sldMkLst>
        <pc:spChg chg="mod">
          <ac:chgData name="Eileen Fleming Suse" userId="S::efs3844@ads.northwestern.edu::725c94ef-d051-42d7-9d33-8572765d592b" providerId="AD" clId="Web-{9EA480BD-2ABC-0E67-CCB3-672E9005EA21}" dt="2023-10-31T18:47:45.734" v="54" actId="1076"/>
          <ac:spMkLst>
            <pc:docMk/>
            <pc:sldMk cId="2443892533" sldId="643"/>
            <ac:spMk id="10" creationId="{F7DE78CF-32A6-61A0-EEC5-F837E089D3A4}"/>
          </ac:spMkLst>
        </pc:spChg>
      </pc:sldChg>
      <pc:sldChg chg="addSp modSp mod setBg">
        <pc:chgData name="Eileen Fleming Suse" userId="S::efs3844@ads.northwestern.edu::725c94ef-d051-42d7-9d33-8572765d592b" providerId="AD" clId="Web-{9EA480BD-2ABC-0E67-CCB3-672E9005EA21}" dt="2023-10-31T18:53:54.682" v="108" actId="20577"/>
        <pc:sldMkLst>
          <pc:docMk/>
          <pc:sldMk cId="1112761221" sldId="649"/>
        </pc:sldMkLst>
        <pc:spChg chg="mod">
          <ac:chgData name="Eileen Fleming Suse" userId="S::efs3844@ads.northwestern.edu::725c94ef-d051-42d7-9d33-8572765d592b" providerId="AD" clId="Web-{9EA480BD-2ABC-0E67-CCB3-672E9005EA21}" dt="2023-10-31T18:53:23.509" v="106"/>
          <ac:spMkLst>
            <pc:docMk/>
            <pc:sldMk cId="1112761221" sldId="649"/>
            <ac:spMk id="2" creationId="{5D725862-D9BC-0176-0EC2-CCE1E0651CF6}"/>
          </ac:spMkLst>
        </pc:spChg>
        <pc:spChg chg="mod">
          <ac:chgData name="Eileen Fleming Suse" userId="S::efs3844@ads.northwestern.edu::725c94ef-d051-42d7-9d33-8572765d592b" providerId="AD" clId="Web-{9EA480BD-2ABC-0E67-CCB3-672E9005EA21}" dt="2023-10-31T18:53:54.682" v="108" actId="20577"/>
          <ac:spMkLst>
            <pc:docMk/>
            <pc:sldMk cId="1112761221" sldId="649"/>
            <ac:spMk id="3" creationId="{6C9274D1-5B42-C3F3-28E1-C27E5991B53C}"/>
          </ac:spMkLst>
        </pc:spChg>
        <pc:spChg chg="mod ord">
          <ac:chgData name="Eileen Fleming Suse" userId="S::efs3844@ads.northwestern.edu::725c94ef-d051-42d7-9d33-8572765d592b" providerId="AD" clId="Web-{9EA480BD-2ABC-0E67-CCB3-672E9005EA21}" dt="2023-10-31T18:53:23.509" v="106"/>
          <ac:spMkLst>
            <pc:docMk/>
            <pc:sldMk cId="1112761221" sldId="649"/>
            <ac:spMk id="4" creationId="{63A013EC-D0C0-C69D-4DDA-EBB300A2CBEF}"/>
          </ac:spMkLst>
        </pc:spChg>
        <pc:spChg chg="mod">
          <ac:chgData name="Eileen Fleming Suse" userId="S::efs3844@ads.northwestern.edu::725c94ef-d051-42d7-9d33-8572765d592b" providerId="AD" clId="Web-{9EA480BD-2ABC-0E67-CCB3-672E9005EA21}" dt="2023-10-31T18:53:23.509" v="106"/>
          <ac:spMkLst>
            <pc:docMk/>
            <pc:sldMk cId="1112761221" sldId="649"/>
            <ac:spMk id="5" creationId="{2E91D297-9D05-16EF-3891-0E6C69C99EBA}"/>
          </ac:spMkLst>
        </pc:spChg>
        <pc:spChg chg="add">
          <ac:chgData name="Eileen Fleming Suse" userId="S::efs3844@ads.northwestern.edu::725c94ef-d051-42d7-9d33-8572765d592b" providerId="AD" clId="Web-{9EA480BD-2ABC-0E67-CCB3-672E9005EA21}" dt="2023-10-31T18:53:23.509" v="106"/>
          <ac:spMkLst>
            <pc:docMk/>
            <pc:sldMk cId="1112761221" sldId="649"/>
            <ac:spMk id="10" creationId="{FFD48BC7-DC40-47DE-87EE-9F4B6ECB9ABB}"/>
          </ac:spMkLst>
        </pc:spChg>
        <pc:spChg chg="add">
          <ac:chgData name="Eileen Fleming Suse" userId="S::efs3844@ads.northwestern.edu::725c94ef-d051-42d7-9d33-8572765d592b" providerId="AD" clId="Web-{9EA480BD-2ABC-0E67-CCB3-672E9005EA21}" dt="2023-10-31T18:53:23.509" v="106"/>
          <ac:spMkLst>
            <pc:docMk/>
            <pc:sldMk cId="1112761221" sldId="649"/>
            <ac:spMk id="12" creationId="{E502BBC7-2C76-46F3-BC24-5985BC13DB88}"/>
          </ac:spMkLst>
        </pc:spChg>
        <pc:spChg chg="add">
          <ac:chgData name="Eileen Fleming Suse" userId="S::efs3844@ads.northwestern.edu::725c94ef-d051-42d7-9d33-8572765d592b" providerId="AD" clId="Web-{9EA480BD-2ABC-0E67-CCB3-672E9005EA21}" dt="2023-10-31T18:53:23.509" v="106"/>
          <ac:spMkLst>
            <pc:docMk/>
            <pc:sldMk cId="1112761221" sldId="649"/>
            <ac:spMk id="14" creationId="{C7F28D52-2A5F-4D23-81AE-7CB8B591C7AF}"/>
          </ac:spMkLst>
        </pc:spChg>
        <pc:spChg chg="add">
          <ac:chgData name="Eileen Fleming Suse" userId="S::efs3844@ads.northwestern.edu::725c94ef-d051-42d7-9d33-8572765d592b" providerId="AD" clId="Web-{9EA480BD-2ABC-0E67-CCB3-672E9005EA21}" dt="2023-10-31T18:53:23.509" v="106"/>
          <ac:spMkLst>
            <pc:docMk/>
            <pc:sldMk cId="1112761221" sldId="649"/>
            <ac:spMk id="16" creationId="{3629484E-3792-4B3D-89AD-7C8A1ED0E0D4}"/>
          </ac:spMkLst>
        </pc:spChg>
      </pc:sldChg>
    </pc:docChg>
  </pc:docChgLst>
  <pc:docChgLst>
    <pc:chgData name="Eileen Fleming Suse" userId="S::efs3844@ads.northwestern.edu::725c94ef-d051-42d7-9d33-8572765d592b" providerId="AD" clId="Web-{0341ED96-5143-9562-5248-833DF36573A1}"/>
    <pc:docChg chg="delSld">
      <pc:chgData name="Eileen Fleming Suse" userId="S::efs3844@ads.northwestern.edu::725c94ef-d051-42d7-9d33-8572765d592b" providerId="AD" clId="Web-{0341ED96-5143-9562-5248-833DF36573A1}" dt="2023-10-23T23:48:58.023" v="0"/>
      <pc:docMkLst>
        <pc:docMk/>
      </pc:docMkLst>
      <pc:sldChg chg="del">
        <pc:chgData name="Eileen Fleming Suse" userId="S::efs3844@ads.northwestern.edu::725c94ef-d051-42d7-9d33-8572765d592b" providerId="AD" clId="Web-{0341ED96-5143-9562-5248-833DF36573A1}" dt="2023-10-23T23:48:58.023" v="0"/>
        <pc:sldMkLst>
          <pc:docMk/>
          <pc:sldMk cId="202185053" sldId="559"/>
        </pc:sldMkLst>
      </pc:sldChg>
    </pc:docChg>
  </pc:docChgLst>
  <pc:docChgLst>
    <pc:chgData name="Caldarelli, Leslie" userId="S::lcaldarelli_luriechildrens.org#ext#@nuwildcat.onmicrosoft.com::cd79b54d-c14e-4199-a04a-39c6f592e710" providerId="AD" clId="Web-{BC047B72-8F18-01C2-FA60-A38A99380270}"/>
    <pc:docChg chg="modSld sldOrd">
      <pc:chgData name="Caldarelli, Leslie" userId="S::lcaldarelli_luriechildrens.org#ext#@nuwildcat.onmicrosoft.com::cd79b54d-c14e-4199-a04a-39c6f592e710" providerId="AD" clId="Web-{BC047B72-8F18-01C2-FA60-A38A99380270}" dt="2023-10-31T04:33:13.252" v="935" actId="20577"/>
      <pc:docMkLst>
        <pc:docMk/>
      </pc:docMkLst>
      <pc:sldChg chg="modSp">
        <pc:chgData name="Caldarelli, Leslie" userId="S::lcaldarelli_luriechildrens.org#ext#@nuwildcat.onmicrosoft.com::cd79b54d-c14e-4199-a04a-39c6f592e710" providerId="AD" clId="Web-{BC047B72-8F18-01C2-FA60-A38A99380270}" dt="2023-10-31T02:08:33.719" v="18" actId="20577"/>
        <pc:sldMkLst>
          <pc:docMk/>
          <pc:sldMk cId="4044691067" sldId="283"/>
        </pc:sldMkLst>
        <pc:spChg chg="mod">
          <ac:chgData name="Caldarelli, Leslie" userId="S::lcaldarelli_luriechildrens.org#ext#@nuwildcat.onmicrosoft.com::cd79b54d-c14e-4199-a04a-39c6f592e710" providerId="AD" clId="Web-{BC047B72-8F18-01C2-FA60-A38A99380270}" dt="2023-10-31T02:08:26.734" v="17" actId="1076"/>
          <ac:spMkLst>
            <pc:docMk/>
            <pc:sldMk cId="4044691067" sldId="283"/>
            <ac:spMk id="3" creationId="{00000000-0000-0000-0000-000000000000}"/>
          </ac:spMkLst>
        </pc:spChg>
        <pc:spChg chg="mod">
          <ac:chgData name="Caldarelli, Leslie" userId="S::lcaldarelli_luriechildrens.org#ext#@nuwildcat.onmicrosoft.com::cd79b54d-c14e-4199-a04a-39c6f592e710" providerId="AD" clId="Web-{BC047B72-8F18-01C2-FA60-A38A99380270}" dt="2023-10-31T02:08:33.719" v="18" actId="20577"/>
          <ac:spMkLst>
            <pc:docMk/>
            <pc:sldMk cId="4044691067" sldId="283"/>
            <ac:spMk id="16386" creationId="{00000000-0000-0000-0000-000000000000}"/>
          </ac:spMkLst>
        </pc:spChg>
        <pc:spChg chg="mod">
          <ac:chgData name="Caldarelli, Leslie" userId="S::lcaldarelli_luriechildrens.org#ext#@nuwildcat.onmicrosoft.com::cd79b54d-c14e-4199-a04a-39c6f592e710" providerId="AD" clId="Web-{BC047B72-8F18-01C2-FA60-A38A99380270}" dt="2023-10-31T02:06:09.934" v="6" actId="1076"/>
          <ac:spMkLst>
            <pc:docMk/>
            <pc:sldMk cId="4044691067" sldId="283"/>
            <ac:spMk id="1638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2:10:51.238" v="39" actId="20577"/>
        <pc:sldMkLst>
          <pc:docMk/>
          <pc:sldMk cId="3635595752" sldId="545"/>
        </pc:sldMkLst>
        <pc:spChg chg="mod">
          <ac:chgData name="Caldarelli, Leslie" userId="S::lcaldarelli_luriechildrens.org#ext#@nuwildcat.onmicrosoft.com::cd79b54d-c14e-4199-a04a-39c6f592e710" providerId="AD" clId="Web-{BC047B72-8F18-01C2-FA60-A38A99380270}" dt="2023-10-31T02:10:51.238" v="39" actId="20577"/>
          <ac:spMkLst>
            <pc:docMk/>
            <pc:sldMk cId="3635595752" sldId="545"/>
            <ac:spMk id="3" creationId="{BFE56240-A306-0E11-425A-7323821A42F2}"/>
          </ac:spMkLst>
        </pc:spChg>
      </pc:sldChg>
      <pc:sldChg chg="modSp">
        <pc:chgData name="Caldarelli, Leslie" userId="S::lcaldarelli_luriechildrens.org#ext#@nuwildcat.onmicrosoft.com::cd79b54d-c14e-4199-a04a-39c6f592e710" providerId="AD" clId="Web-{BC047B72-8F18-01C2-FA60-A38A99380270}" dt="2023-10-31T03:23:30.003" v="188" actId="20577"/>
        <pc:sldMkLst>
          <pc:docMk/>
          <pc:sldMk cId="1036043289" sldId="546"/>
        </pc:sldMkLst>
        <pc:spChg chg="mod">
          <ac:chgData name="Caldarelli, Leslie" userId="S::lcaldarelli_luriechildrens.org#ext#@nuwildcat.onmicrosoft.com::cd79b54d-c14e-4199-a04a-39c6f592e710" providerId="AD" clId="Web-{BC047B72-8F18-01C2-FA60-A38A99380270}" dt="2023-10-31T03:23:30.003" v="188" actId="20577"/>
          <ac:spMkLst>
            <pc:docMk/>
            <pc:sldMk cId="1036043289" sldId="546"/>
            <ac:spMk id="3" creationId="{BACE41BD-1CAE-1299-918F-5B1678DE12B4}"/>
          </ac:spMkLst>
        </pc:spChg>
      </pc:sldChg>
      <pc:sldChg chg="modSp modNotes">
        <pc:chgData name="Caldarelli, Leslie" userId="S::lcaldarelli_luriechildrens.org#ext#@nuwildcat.onmicrosoft.com::cd79b54d-c14e-4199-a04a-39c6f592e710" providerId="AD" clId="Web-{BC047B72-8F18-01C2-FA60-A38A99380270}" dt="2023-10-31T04:32:19.657" v="874"/>
        <pc:sldMkLst>
          <pc:docMk/>
          <pc:sldMk cId="3745706804" sldId="548"/>
        </pc:sldMkLst>
        <pc:spChg chg="mod">
          <ac:chgData name="Caldarelli, Leslie" userId="S::lcaldarelli_luriechildrens.org#ext#@nuwildcat.onmicrosoft.com::cd79b54d-c14e-4199-a04a-39c6f592e710" providerId="AD" clId="Web-{BC047B72-8F18-01C2-FA60-A38A99380270}" dt="2023-10-31T04:30:45.872" v="852" actId="20577"/>
          <ac:spMkLst>
            <pc:docMk/>
            <pc:sldMk cId="3745706804" sldId="548"/>
            <ac:spMk id="2" creationId="{C2B429CC-FC8C-ECA7-15C8-7563C27BFB95}"/>
          </ac:spMkLst>
        </pc:spChg>
        <pc:spChg chg="mod">
          <ac:chgData name="Caldarelli, Leslie" userId="S::lcaldarelli_luriechildrens.org#ext#@nuwildcat.onmicrosoft.com::cd79b54d-c14e-4199-a04a-39c6f592e710" providerId="AD" clId="Web-{BC047B72-8F18-01C2-FA60-A38A99380270}" dt="2023-10-31T04:30:54.388" v="855" actId="20577"/>
          <ac:spMkLst>
            <pc:docMk/>
            <pc:sldMk cId="3745706804" sldId="548"/>
            <ac:spMk id="3" creationId="{C0454086-94BF-0693-766D-F1659194519A}"/>
          </ac:spMkLst>
        </pc:spChg>
      </pc:sldChg>
      <pc:sldChg chg="modSp">
        <pc:chgData name="Caldarelli, Leslie" userId="S::lcaldarelli_luriechildrens.org#ext#@nuwildcat.onmicrosoft.com::cd79b54d-c14e-4199-a04a-39c6f592e710" providerId="AD" clId="Web-{BC047B72-8F18-01C2-FA60-A38A99380270}" dt="2023-10-31T04:33:03.893" v="911" actId="20577"/>
        <pc:sldMkLst>
          <pc:docMk/>
          <pc:sldMk cId="3962270618" sldId="549"/>
        </pc:sldMkLst>
        <pc:spChg chg="mod">
          <ac:chgData name="Caldarelli, Leslie" userId="S::lcaldarelli_luriechildrens.org#ext#@nuwildcat.onmicrosoft.com::cd79b54d-c14e-4199-a04a-39c6f592e710" providerId="AD" clId="Web-{BC047B72-8F18-01C2-FA60-A38A99380270}" dt="2023-10-31T04:33:03.893" v="911"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BC047B72-8F18-01C2-FA60-A38A99380270}" dt="2023-10-31T04:33:03.221" v="899" actId="1076"/>
          <ac:spMkLst>
            <pc:docMk/>
            <pc:sldMk cId="3962270618" sldId="549"/>
            <ac:spMk id="3" creationId="{CBB95935-58B8-573E-DAFB-D9AE51F0FF09}"/>
          </ac:spMkLst>
        </pc:spChg>
      </pc:sldChg>
      <pc:sldChg chg="modSp">
        <pc:chgData name="Caldarelli, Leslie" userId="S::lcaldarelli_luriechildrens.org#ext#@nuwildcat.onmicrosoft.com::cd79b54d-c14e-4199-a04a-39c6f592e710" providerId="AD" clId="Web-{BC047B72-8F18-01C2-FA60-A38A99380270}" dt="2023-10-31T04:32:54.002" v="879" actId="20577"/>
        <pc:sldMkLst>
          <pc:docMk/>
          <pc:sldMk cId="3472964082" sldId="550"/>
        </pc:sldMkLst>
        <pc:spChg chg="mod">
          <ac:chgData name="Caldarelli, Leslie" userId="S::lcaldarelli_luriechildrens.org#ext#@nuwildcat.onmicrosoft.com::cd79b54d-c14e-4199-a04a-39c6f592e710" providerId="AD" clId="Web-{BC047B72-8F18-01C2-FA60-A38A99380270}" dt="2023-10-31T04:32:54.002" v="879" actId="20577"/>
          <ac:spMkLst>
            <pc:docMk/>
            <pc:sldMk cId="3472964082" sldId="550"/>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32:45.548" v="878" actId="14100"/>
        <pc:sldMkLst>
          <pc:docMk/>
          <pc:sldMk cId="2562283095" sldId="551"/>
        </pc:sldMkLst>
        <pc:spChg chg="mod">
          <ac:chgData name="Caldarelli, Leslie" userId="S::lcaldarelli_luriechildrens.org#ext#@nuwildcat.onmicrosoft.com::cd79b54d-c14e-4199-a04a-39c6f592e710" providerId="AD" clId="Web-{BC047B72-8F18-01C2-FA60-A38A99380270}" dt="2023-10-31T04:32:45.548" v="878" actId="14100"/>
          <ac:spMkLst>
            <pc:docMk/>
            <pc:sldMk cId="2562283095" sldId="551"/>
            <ac:spMk id="53"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10:18.471" v="119"/>
        <pc:sldMkLst>
          <pc:docMk/>
          <pc:sldMk cId="714682852" sldId="552"/>
        </pc:sldMkLst>
        <pc:spChg chg="mod">
          <ac:chgData name="Caldarelli, Leslie" userId="S::lcaldarelli_luriechildrens.org#ext#@nuwildcat.onmicrosoft.com::cd79b54d-c14e-4199-a04a-39c6f592e710" providerId="AD" clId="Web-{BC047B72-8F18-01C2-FA60-A38A99380270}" dt="2023-10-31T03:04:54.368" v="85" actId="20577"/>
          <ac:spMkLst>
            <pc:docMk/>
            <pc:sldMk cId="714682852" sldId="552"/>
            <ac:spMk id="2" creationId="{966FAC69-62AA-D40E-C4BD-DAD5BF599C69}"/>
          </ac:spMkLst>
        </pc:spChg>
        <pc:spChg chg="mod">
          <ac:chgData name="Caldarelli, Leslie" userId="S::lcaldarelli_luriechildrens.org#ext#@nuwildcat.onmicrosoft.com::cd79b54d-c14e-4199-a04a-39c6f592e710" providerId="AD" clId="Web-{BC047B72-8F18-01C2-FA60-A38A99380270}" dt="2023-10-31T03:06:44.091" v="95" actId="1076"/>
          <ac:spMkLst>
            <pc:docMk/>
            <pc:sldMk cId="714682852" sldId="552"/>
            <ac:spMk id="6" creationId="{D07E332C-4452-C8D5-59CC-C21023DE9083}"/>
          </ac:spMkLst>
        </pc:spChg>
        <pc:spChg chg="mod">
          <ac:chgData name="Caldarelli, Leslie" userId="S::lcaldarelli_luriechildrens.org#ext#@nuwildcat.onmicrosoft.com::cd79b54d-c14e-4199-a04a-39c6f592e710" providerId="AD" clId="Web-{BC047B72-8F18-01C2-FA60-A38A99380270}" dt="2023-10-31T03:09:24.017" v="118" actId="20577"/>
          <ac:spMkLst>
            <pc:docMk/>
            <pc:sldMk cId="714682852" sldId="552"/>
            <ac:spMk id="19" creationId="{8F56D947-B18E-6292-FB32-17E6BBE1C7B7}"/>
          </ac:spMkLst>
        </pc:spChg>
        <pc:spChg chg="mod">
          <ac:chgData name="Caldarelli, Leslie" userId="S::lcaldarelli_luriechildrens.org#ext#@nuwildcat.onmicrosoft.com::cd79b54d-c14e-4199-a04a-39c6f592e710" providerId="AD" clId="Web-{BC047B72-8F18-01C2-FA60-A38A99380270}" dt="2023-10-31T03:09:13.643" v="117" actId="14100"/>
          <ac:spMkLst>
            <pc:docMk/>
            <pc:sldMk cId="714682852" sldId="552"/>
            <ac:spMk id="20" creationId="{A9936A2B-2042-0897-3CCF-AC6DEB6DE9D0}"/>
          </ac:spMkLst>
        </pc:spChg>
        <pc:spChg chg="mod">
          <ac:chgData name="Caldarelli, Leslie" userId="S::lcaldarelli_luriechildrens.org#ext#@nuwildcat.onmicrosoft.com::cd79b54d-c14e-4199-a04a-39c6f592e710" providerId="AD" clId="Web-{BC047B72-8F18-01C2-FA60-A38A99380270}" dt="2023-10-31T03:06:05.964" v="93" actId="1076"/>
          <ac:spMkLst>
            <pc:docMk/>
            <pc:sldMk cId="714682852" sldId="552"/>
            <ac:spMk id="23" creationId="{01161B8F-C665-1E6B-2E22-400EFC600810}"/>
          </ac:spMkLst>
        </pc:spChg>
        <pc:spChg chg="mod">
          <ac:chgData name="Caldarelli, Leslie" userId="S::lcaldarelli_luriechildrens.org#ext#@nuwildcat.onmicrosoft.com::cd79b54d-c14e-4199-a04a-39c6f592e710" providerId="AD" clId="Web-{BC047B72-8F18-01C2-FA60-A38A99380270}" dt="2023-10-31T03:06:32.028" v="94" actId="1076"/>
          <ac:spMkLst>
            <pc:docMk/>
            <pc:sldMk cId="714682852" sldId="552"/>
            <ac:spMk id="39" creationId="{E29ABAB9-1C54-B808-EDD4-5D83CC77687C}"/>
          </ac:spMkLst>
        </pc:spChg>
      </pc:sldChg>
      <pc:sldChg chg="modSp">
        <pc:chgData name="Caldarelli, Leslie" userId="S::lcaldarelli_luriechildrens.org#ext#@nuwildcat.onmicrosoft.com::cd79b54d-c14e-4199-a04a-39c6f592e710" providerId="AD" clId="Web-{BC047B72-8F18-01C2-FA60-A38A99380270}" dt="2023-10-31T04:02:15.418" v="537" actId="1076"/>
        <pc:sldMkLst>
          <pc:docMk/>
          <pc:sldMk cId="3536510335" sldId="553"/>
        </pc:sldMkLst>
        <pc:spChg chg="mod">
          <ac:chgData name="Caldarelli, Leslie" userId="S::lcaldarelli_luriechildrens.org#ext#@nuwildcat.onmicrosoft.com::cd79b54d-c14e-4199-a04a-39c6f592e710" providerId="AD" clId="Web-{BC047B72-8F18-01C2-FA60-A38A99380270}" dt="2023-10-31T03:22:55.767" v="184" actId="1076"/>
          <ac:spMkLst>
            <pc:docMk/>
            <pc:sldMk cId="3536510335" sldId="553"/>
            <ac:spMk id="3" creationId="{DF1C7F80-41A4-BEE0-AE4A-B924B459AE73}"/>
          </ac:spMkLst>
        </pc:spChg>
        <pc:spChg chg="mod">
          <ac:chgData name="Caldarelli, Leslie" userId="S::lcaldarelli_luriechildrens.org#ext#@nuwildcat.onmicrosoft.com::cd79b54d-c14e-4199-a04a-39c6f592e710" providerId="AD" clId="Web-{BC047B72-8F18-01C2-FA60-A38A99380270}" dt="2023-10-31T04:02:15.418" v="537" actId="1076"/>
          <ac:spMkLst>
            <pc:docMk/>
            <pc:sldMk cId="3536510335" sldId="553"/>
            <ac:spMk id="10" creationId="{7FA2B65B-6DF5-1F48-C692-646D2CEF0E2F}"/>
          </ac:spMkLst>
        </pc:spChg>
        <pc:spChg chg="mod">
          <ac:chgData name="Caldarelli, Leslie" userId="S::lcaldarelli_luriechildrens.org#ext#@nuwildcat.onmicrosoft.com::cd79b54d-c14e-4199-a04a-39c6f592e710" providerId="AD" clId="Web-{BC047B72-8F18-01C2-FA60-A38A99380270}" dt="2023-10-31T03:23:04.314" v="185" actId="1076"/>
          <ac:spMkLst>
            <pc:docMk/>
            <pc:sldMk cId="3536510335" sldId="553"/>
            <ac:spMk id="11" creationId="{50FB034E-6814-0511-ABE9-55AF46337AE4}"/>
          </ac:spMkLst>
        </pc:spChg>
      </pc:sldChg>
      <pc:sldChg chg="modSp modNotes">
        <pc:chgData name="Caldarelli, Leslie" userId="S::lcaldarelli_luriechildrens.org#ext#@nuwildcat.onmicrosoft.com::cd79b54d-c14e-4199-a04a-39c6f592e710" providerId="AD" clId="Web-{BC047B72-8F18-01C2-FA60-A38A99380270}" dt="2023-10-31T03:17:05.691" v="150"/>
        <pc:sldMkLst>
          <pc:docMk/>
          <pc:sldMk cId="1231844700" sldId="554"/>
        </pc:sldMkLst>
        <pc:spChg chg="mod">
          <ac:chgData name="Caldarelli, Leslie" userId="S::lcaldarelli_luriechildrens.org#ext#@nuwildcat.onmicrosoft.com::cd79b54d-c14e-4199-a04a-39c6f592e710" providerId="AD" clId="Web-{BC047B72-8F18-01C2-FA60-A38A99380270}" dt="2023-10-31T03:16:56.675" v="149" actId="14100"/>
          <ac:spMkLst>
            <pc:docMk/>
            <pc:sldMk cId="1231844700" sldId="554"/>
            <ac:spMk id="2" creationId="{61FD53C4-A666-522F-F9AB-081D90D541D1}"/>
          </ac:spMkLst>
        </pc:spChg>
      </pc:sldChg>
      <pc:sldChg chg="addSp delSp modSp">
        <pc:chgData name="Caldarelli, Leslie" userId="S::lcaldarelli_luriechildrens.org#ext#@nuwildcat.onmicrosoft.com::cd79b54d-c14e-4199-a04a-39c6f592e710" providerId="AD" clId="Web-{BC047B72-8F18-01C2-FA60-A38A99380270}" dt="2023-10-31T03:16:11.346" v="143" actId="20577"/>
        <pc:sldMkLst>
          <pc:docMk/>
          <pc:sldMk cId="1522616096" sldId="555"/>
        </pc:sldMkLst>
        <pc:spChg chg="mod">
          <ac:chgData name="Caldarelli, Leslie" userId="S::lcaldarelli_luriechildrens.org#ext#@nuwildcat.onmicrosoft.com::cd79b54d-c14e-4199-a04a-39c6f592e710" providerId="AD" clId="Web-{BC047B72-8F18-01C2-FA60-A38A99380270}" dt="2023-10-31T03:10:36.831" v="120" actId="20577"/>
          <ac:spMkLst>
            <pc:docMk/>
            <pc:sldMk cId="1522616096" sldId="555"/>
            <ac:spMk id="2" creationId="{F40AE700-1499-46B3-C70A-C723802CD680}"/>
          </ac:spMkLst>
        </pc:spChg>
        <pc:spChg chg="del">
          <ac:chgData name="Caldarelli, Leslie" userId="S::lcaldarelli_luriechildrens.org#ext#@nuwildcat.onmicrosoft.com::cd79b54d-c14e-4199-a04a-39c6f592e710" providerId="AD" clId="Web-{BC047B72-8F18-01C2-FA60-A38A99380270}" dt="2023-10-31T03:11:02.722" v="121"/>
          <ac:spMkLst>
            <pc:docMk/>
            <pc:sldMk cId="1522616096" sldId="555"/>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4:41.121" v="132" actId="20577"/>
          <ac:spMkLst>
            <pc:docMk/>
            <pc:sldMk cId="1522616096" sldId="555"/>
            <ac:spMk id="4" creationId="{3D49CA6C-78ED-3124-7EE3-BBDDC9988910}"/>
          </ac:spMkLst>
        </pc:spChg>
        <pc:spChg chg="add del mod">
          <ac:chgData name="Caldarelli, Leslie" userId="S::lcaldarelli_luriechildrens.org#ext#@nuwildcat.onmicrosoft.com::cd79b54d-c14e-4199-a04a-39c6f592e710" providerId="AD" clId="Web-{BC047B72-8F18-01C2-FA60-A38A99380270}" dt="2023-10-31T03:11:32.879" v="126"/>
          <ac:spMkLst>
            <pc:docMk/>
            <pc:sldMk cId="1522616096" sldId="555"/>
            <ac:spMk id="10" creationId="{055319F5-46DE-86F3-1826-03B62D23B87B}"/>
          </ac:spMkLst>
        </pc:spChg>
        <pc:spChg chg="add mod">
          <ac:chgData name="Caldarelli, Leslie" userId="S::lcaldarelli_luriechildrens.org#ext#@nuwildcat.onmicrosoft.com::cd79b54d-c14e-4199-a04a-39c6f592e710" providerId="AD" clId="Web-{BC047B72-8F18-01C2-FA60-A38A99380270}" dt="2023-10-31T03:16:11.346" v="143" actId="20577"/>
          <ac:spMkLst>
            <pc:docMk/>
            <pc:sldMk cId="1522616096" sldId="555"/>
            <ac:spMk id="12" creationId="{FFCC26E6-1C5C-8419-8626-BD0157947192}"/>
          </ac:spMkLst>
        </pc:spChg>
      </pc:sldChg>
      <pc:sldChg chg="modSp modNotes">
        <pc:chgData name="Caldarelli, Leslie" userId="S::lcaldarelli_luriechildrens.org#ext#@nuwildcat.onmicrosoft.com::cd79b54d-c14e-4199-a04a-39c6f592e710" providerId="AD" clId="Web-{BC047B72-8F18-01C2-FA60-A38A99380270}" dt="2023-10-31T03:53:07.538" v="468"/>
        <pc:sldMkLst>
          <pc:docMk/>
          <pc:sldMk cId="1514756035" sldId="556"/>
        </pc:sldMkLst>
        <pc:spChg chg="mod">
          <ac:chgData name="Caldarelli, Leslie" userId="S::lcaldarelli_luriechildrens.org#ext#@nuwildcat.onmicrosoft.com::cd79b54d-c14e-4199-a04a-39c6f592e710" providerId="AD" clId="Web-{BC047B72-8F18-01C2-FA60-A38A99380270}" dt="2023-10-31T02:12:25.897" v="46" actId="14100"/>
          <ac:spMkLst>
            <pc:docMk/>
            <pc:sldMk cId="1514756035" sldId="556"/>
            <ac:spMk id="2" creationId="{8C7182B8-D745-6D49-E823-6B4C357520BB}"/>
          </ac:spMkLst>
        </pc:spChg>
        <pc:spChg chg="mod">
          <ac:chgData name="Caldarelli, Leslie" userId="S::lcaldarelli_luriechildrens.org#ext#@nuwildcat.onmicrosoft.com::cd79b54d-c14e-4199-a04a-39c6f592e710" providerId="AD" clId="Web-{BC047B72-8F18-01C2-FA60-A38A99380270}" dt="2023-10-31T03:03:46.193" v="71" actId="20577"/>
          <ac:spMkLst>
            <pc:docMk/>
            <pc:sldMk cId="1514756035" sldId="556"/>
            <ac:spMk id="48" creationId="{9DA002CE-213B-0EFE-03DC-C3DB65BCF003}"/>
          </ac:spMkLst>
        </pc:spChg>
        <pc:spChg chg="mod">
          <ac:chgData name="Caldarelli, Leslie" userId="S::lcaldarelli_luriechildrens.org#ext#@nuwildcat.onmicrosoft.com::cd79b54d-c14e-4199-a04a-39c6f592e710" providerId="AD" clId="Web-{BC047B72-8F18-01C2-FA60-A38A99380270}" dt="2023-10-31T03:03:03.004" v="65" actId="1076"/>
          <ac:spMkLst>
            <pc:docMk/>
            <pc:sldMk cId="1514756035" sldId="556"/>
            <ac:spMk id="50" creationId="{484FA518-5005-04AD-A148-23B555389D18}"/>
          </ac:spMkLst>
        </pc:spChg>
      </pc:sldChg>
      <pc:sldChg chg="modSp">
        <pc:chgData name="Caldarelli, Leslie" userId="S::lcaldarelli_luriechildrens.org#ext#@nuwildcat.onmicrosoft.com::cd79b54d-c14e-4199-a04a-39c6f592e710" providerId="AD" clId="Web-{BC047B72-8F18-01C2-FA60-A38A99380270}" dt="2023-10-31T03:18:25.335" v="158" actId="20577"/>
        <pc:sldMkLst>
          <pc:docMk/>
          <pc:sldMk cId="773696652" sldId="558"/>
        </pc:sldMkLst>
        <pc:spChg chg="mod">
          <ac:chgData name="Caldarelli, Leslie" userId="S::lcaldarelli_luriechildrens.org#ext#@nuwildcat.onmicrosoft.com::cd79b54d-c14e-4199-a04a-39c6f592e710" providerId="AD" clId="Web-{BC047B72-8F18-01C2-FA60-A38A99380270}" dt="2023-10-31T03:17:23.426" v="151" actId="20577"/>
          <ac:spMkLst>
            <pc:docMk/>
            <pc:sldMk cId="773696652" sldId="558"/>
            <ac:spMk id="2" creationId="{F40AE700-1499-46B3-C70A-C723802CD680}"/>
          </ac:spMkLst>
        </pc:spChg>
        <pc:spChg chg="mod">
          <ac:chgData name="Caldarelli, Leslie" userId="S::lcaldarelli_luriechildrens.org#ext#@nuwildcat.onmicrosoft.com::cd79b54d-c14e-4199-a04a-39c6f592e710" providerId="AD" clId="Web-{BC047B72-8F18-01C2-FA60-A38A99380270}" dt="2023-10-31T03:18:25.335" v="158" actId="20577"/>
          <ac:spMkLst>
            <pc:docMk/>
            <pc:sldMk cId="773696652" sldId="558"/>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8:16.382" v="157" actId="20577"/>
          <ac:spMkLst>
            <pc:docMk/>
            <pc:sldMk cId="773696652" sldId="558"/>
            <ac:spMk id="5" creationId="{19C1D751-08DD-BD76-1181-C434C9849C27}"/>
          </ac:spMkLst>
        </pc:spChg>
        <pc:spChg chg="mod">
          <ac:chgData name="Caldarelli, Leslie" userId="S::lcaldarelli_luriechildrens.org#ext#@nuwildcat.onmicrosoft.com::cd79b54d-c14e-4199-a04a-39c6f592e710" providerId="AD" clId="Web-{BC047B72-8F18-01C2-FA60-A38A99380270}" dt="2023-10-31T03:17:58.615" v="154" actId="1076"/>
          <ac:spMkLst>
            <pc:docMk/>
            <pc:sldMk cId="773696652" sldId="558"/>
            <ac:spMk id="7" creationId="{98AEAD99-3E06-8D3F-3F0C-CDC9176523B6}"/>
          </ac:spMkLst>
        </pc:spChg>
      </pc:sldChg>
      <pc:sldChg chg="modSp">
        <pc:chgData name="Caldarelli, Leslie" userId="S::lcaldarelli_luriechildrens.org#ext#@nuwildcat.onmicrosoft.com::cd79b54d-c14e-4199-a04a-39c6f592e710" providerId="AD" clId="Web-{BC047B72-8F18-01C2-FA60-A38A99380270}" dt="2023-10-31T04:33:03.814" v="908" actId="20577"/>
        <pc:sldMkLst>
          <pc:docMk/>
          <pc:sldMk cId="3067427377" sldId="560"/>
        </pc:sldMkLst>
        <pc:spChg chg="mod">
          <ac:chgData name="Caldarelli, Leslie" userId="S::lcaldarelli_luriechildrens.org#ext#@nuwildcat.onmicrosoft.com::cd79b54d-c14e-4199-a04a-39c6f592e710" providerId="AD" clId="Web-{BC047B72-8F18-01C2-FA60-A38A99380270}" dt="2023-10-31T04:33:03.814" v="908"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BC047B72-8F18-01C2-FA60-A38A99380270}" dt="2023-10-31T04:12:21.956" v="658" actId="14100"/>
        <pc:sldMkLst>
          <pc:docMk/>
          <pc:sldMk cId="3845418986" sldId="563"/>
        </pc:sldMkLst>
        <pc:spChg chg="mod">
          <ac:chgData name="Caldarelli, Leslie" userId="S::lcaldarelli_luriechildrens.org#ext#@nuwildcat.onmicrosoft.com::cd79b54d-c14e-4199-a04a-39c6f592e710" providerId="AD" clId="Web-{BC047B72-8F18-01C2-FA60-A38A99380270}" dt="2023-10-31T04:12:21.956" v="658" actId="14100"/>
          <ac:spMkLst>
            <pc:docMk/>
            <pc:sldMk cId="3845418986" sldId="563"/>
            <ac:spMk id="33" creationId="{5C2A740E-7A02-31A5-EAAF-9CD8C0A41D47}"/>
          </ac:spMkLst>
        </pc:spChg>
        <pc:spChg chg="mod">
          <ac:chgData name="Caldarelli, Leslie" userId="S::lcaldarelli_luriechildrens.org#ext#@nuwildcat.onmicrosoft.com::cd79b54d-c14e-4199-a04a-39c6f592e710" providerId="AD" clId="Web-{BC047B72-8F18-01C2-FA60-A38A99380270}" dt="2023-10-31T04:11:12.594" v="650" actId="14100"/>
          <ac:spMkLst>
            <pc:docMk/>
            <pc:sldMk cId="3845418986" sldId="563"/>
            <ac:spMk id="49" creationId="{4FD6BDF7-E6F5-6DC8-9332-E3E0DB7057F0}"/>
          </ac:spMkLst>
        </pc:spChg>
        <pc:spChg chg="mod">
          <ac:chgData name="Caldarelli, Leslie" userId="S::lcaldarelli_luriechildrens.org#ext#@nuwildcat.onmicrosoft.com::cd79b54d-c14e-4199-a04a-39c6f592e710" providerId="AD" clId="Web-{BC047B72-8F18-01C2-FA60-A38A99380270}" dt="2023-10-31T04:12:13.190" v="657" actId="14100"/>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BC047B72-8F18-01C2-FA60-A38A99380270}" dt="2023-10-31T04:10:55.515" v="648" actId="1076"/>
        <pc:sldMkLst>
          <pc:docMk/>
          <pc:sldMk cId="1536434647" sldId="564"/>
        </pc:sldMkLst>
        <pc:spChg chg="mod">
          <ac:chgData name="Caldarelli, Leslie" userId="S::lcaldarelli_luriechildrens.org#ext#@nuwildcat.onmicrosoft.com::cd79b54d-c14e-4199-a04a-39c6f592e710" providerId="AD" clId="Web-{BC047B72-8F18-01C2-FA60-A38A99380270}" dt="2023-10-31T04:10:29.577" v="645" actId="14100"/>
          <ac:spMkLst>
            <pc:docMk/>
            <pc:sldMk cId="1536434647" sldId="564"/>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10:55.515" v="648" actId="1076"/>
          <ac:spMkLst>
            <pc:docMk/>
            <pc:sldMk cId="1536434647" sldId="564"/>
            <ac:spMk id="41" creationId="{00000000-0000-0000-0000-000000000000}"/>
          </ac:spMkLst>
        </pc:spChg>
        <pc:spChg chg="mod">
          <ac:chgData name="Caldarelli, Leslie" userId="S::lcaldarelli_luriechildrens.org#ext#@nuwildcat.onmicrosoft.com::cd79b54d-c14e-4199-a04a-39c6f592e710" providerId="AD" clId="Web-{BC047B72-8F18-01C2-FA60-A38A99380270}" dt="2023-10-31T04:10:21.014" v="644" actId="14100"/>
          <ac:spMkLst>
            <pc:docMk/>
            <pc:sldMk cId="1536434647" sldId="564"/>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09:55.138" v="640" actId="1076"/>
          <ac:spMkLst>
            <pc:docMk/>
            <pc:sldMk cId="1536434647" sldId="564"/>
            <ac:spMk id="51" creationId="{DADB789B-D1D8-A439-C1FC-0121F131E706}"/>
          </ac:spMkLst>
        </pc:spChg>
        <pc:spChg chg="mod">
          <ac:chgData name="Caldarelli, Leslie" userId="S::lcaldarelli_luriechildrens.org#ext#@nuwildcat.onmicrosoft.com::cd79b54d-c14e-4199-a04a-39c6f592e710" providerId="AD" clId="Web-{BC047B72-8F18-01C2-FA60-A38A99380270}" dt="2023-10-31T04:10:03.935" v="641" actId="1076"/>
          <ac:spMkLst>
            <pc:docMk/>
            <pc:sldMk cId="1536434647" sldId="564"/>
            <ac:spMk id="53" creationId="{7AA1F7FA-AA52-FED3-1784-BE66C8A7FBFC}"/>
          </ac:spMkLst>
        </pc:spChg>
      </pc:sldChg>
      <pc:sldChg chg="modSp">
        <pc:chgData name="Caldarelli, Leslie" userId="S::lcaldarelli_luriechildrens.org#ext#@nuwildcat.onmicrosoft.com::cd79b54d-c14e-4199-a04a-39c6f592e710" providerId="AD" clId="Web-{BC047B72-8F18-01C2-FA60-A38A99380270}" dt="2023-10-31T04:04:35.001" v="597" actId="20577"/>
        <pc:sldMkLst>
          <pc:docMk/>
          <pc:sldMk cId="3004937174" sldId="565"/>
        </pc:sldMkLst>
        <pc:spChg chg="mod">
          <ac:chgData name="Caldarelli, Leslie" userId="S::lcaldarelli_luriechildrens.org#ext#@nuwildcat.onmicrosoft.com::cd79b54d-c14e-4199-a04a-39c6f592e710" providerId="AD" clId="Web-{BC047B72-8F18-01C2-FA60-A38A99380270}" dt="2023-10-31T04:04:34.626" v="591" actId="14100"/>
          <ac:spMkLst>
            <pc:docMk/>
            <pc:sldMk cId="3004937174" sldId="565"/>
            <ac:spMk id="23" creationId="{00000000-0000-0000-0000-000000000000}"/>
          </ac:spMkLst>
        </pc:spChg>
        <pc:spChg chg="mod">
          <ac:chgData name="Caldarelli, Leslie" userId="S::lcaldarelli_luriechildrens.org#ext#@nuwildcat.onmicrosoft.com::cd79b54d-c14e-4199-a04a-39c6f592e710" providerId="AD" clId="Web-{BC047B72-8F18-01C2-FA60-A38A99380270}" dt="2023-10-31T04:04:35.001" v="597" actId="20577"/>
          <ac:spMkLst>
            <pc:docMk/>
            <pc:sldMk cId="3004937174" sldId="565"/>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4:34.720" v="593" actId="14100"/>
          <ac:spMkLst>
            <pc:docMk/>
            <pc:sldMk cId="3004937174" sldId="565"/>
            <ac:spMk id="4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09:02.605" v="635" actId="20577"/>
        <pc:sldMkLst>
          <pc:docMk/>
          <pc:sldMk cId="3419957415" sldId="577"/>
        </pc:sldMkLst>
        <pc:spChg chg="mod">
          <ac:chgData name="Caldarelli, Leslie" userId="S::lcaldarelli_luriechildrens.org#ext#@nuwildcat.onmicrosoft.com::cd79b54d-c14e-4199-a04a-39c6f592e710" providerId="AD" clId="Web-{BC047B72-8F18-01C2-FA60-A38A99380270}" dt="2023-10-31T04:09:02.605" v="635" actId="20577"/>
          <ac:spMkLst>
            <pc:docMk/>
            <pc:sldMk cId="3419957415" sldId="577"/>
            <ac:spMk id="53" creationId="{00000000-0000-0000-0000-000000000000}"/>
          </ac:spMkLst>
        </pc:spChg>
        <pc:spChg chg="mod">
          <ac:chgData name="Caldarelli, Leslie" userId="S::lcaldarelli_luriechildrens.org#ext#@nuwildcat.onmicrosoft.com::cd79b54d-c14e-4199-a04a-39c6f592e710" providerId="AD" clId="Web-{BC047B72-8F18-01C2-FA60-A38A99380270}" dt="2023-10-31T04:08:36.385" v="631" actId="14100"/>
          <ac:spMkLst>
            <pc:docMk/>
            <pc:sldMk cId="3419957415" sldId="577"/>
            <ac:spMk id="57"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4:26:17.362" v="809"/>
        <pc:sldMkLst>
          <pc:docMk/>
          <pc:sldMk cId="3030449316" sldId="579"/>
        </pc:sldMkLst>
        <pc:spChg chg="mod">
          <ac:chgData name="Caldarelli, Leslie" userId="S::lcaldarelli_luriechildrens.org#ext#@nuwildcat.onmicrosoft.com::cd79b54d-c14e-4199-a04a-39c6f592e710" providerId="AD" clId="Web-{BC047B72-8F18-01C2-FA60-A38A99380270}" dt="2023-10-31T04:18:28.688" v="756" actId="20577"/>
          <ac:spMkLst>
            <pc:docMk/>
            <pc:sldMk cId="3030449316" sldId="579"/>
            <ac:spMk id="44" creationId="{00000000-0000-0000-0000-000000000000}"/>
          </ac:spMkLst>
        </pc:spChg>
        <pc:spChg chg="mod">
          <ac:chgData name="Caldarelli, Leslie" userId="S::lcaldarelli_luriechildrens.org#ext#@nuwildcat.onmicrosoft.com::cd79b54d-c14e-4199-a04a-39c6f592e710" providerId="AD" clId="Web-{BC047B72-8F18-01C2-FA60-A38A99380270}" dt="2023-10-31T04:25:07.797" v="802" actId="1076"/>
          <ac:spMkLst>
            <pc:docMk/>
            <pc:sldMk cId="3030449316" sldId="579"/>
            <ac:spMk id="4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4:17.163" v="707" actId="1076"/>
        <pc:sldMkLst>
          <pc:docMk/>
          <pc:sldMk cId="3429940818" sldId="581"/>
        </pc:sldMkLst>
        <pc:spChg chg="mod">
          <ac:chgData name="Caldarelli, Leslie" userId="S::lcaldarelli_luriechildrens.org#ext#@nuwildcat.onmicrosoft.com::cd79b54d-c14e-4199-a04a-39c6f592e710" providerId="AD" clId="Web-{BC047B72-8F18-01C2-FA60-A38A99380270}" dt="2023-10-31T04:12:48.425" v="663" actId="20577"/>
          <ac:spMkLst>
            <pc:docMk/>
            <pc:sldMk cId="3429940818" sldId="581"/>
            <ac:spMk id="62" creationId="{00000000-0000-0000-0000-000000000000}"/>
          </ac:spMkLst>
        </pc:spChg>
        <pc:grpChg chg="mod">
          <ac:chgData name="Caldarelli, Leslie" userId="S::lcaldarelli_luriechildrens.org#ext#@nuwildcat.onmicrosoft.com::cd79b54d-c14e-4199-a04a-39c6f592e710" providerId="AD" clId="Web-{BC047B72-8F18-01C2-FA60-A38A99380270}" dt="2023-10-31T04:14:17.163" v="707" actId="1076"/>
          <ac:grpSpMkLst>
            <pc:docMk/>
            <pc:sldMk cId="3429940818" sldId="581"/>
            <ac:grpSpMk id="6" creationId="{00000000-0000-0000-0000-000000000000}"/>
          </ac:grpSpMkLst>
        </pc:grpChg>
      </pc:sldChg>
      <pc:sldChg chg="modSp modNotes">
        <pc:chgData name="Caldarelli, Leslie" userId="S::lcaldarelli_luriechildrens.org#ext#@nuwildcat.onmicrosoft.com::cd79b54d-c14e-4199-a04a-39c6f592e710" providerId="AD" clId="Web-{BC047B72-8F18-01C2-FA60-A38A99380270}" dt="2023-10-31T04:05:26.956" v="608" actId="20577"/>
        <pc:sldMkLst>
          <pc:docMk/>
          <pc:sldMk cId="3870927286" sldId="583"/>
        </pc:sldMkLst>
        <pc:spChg chg="mod">
          <ac:chgData name="Caldarelli, Leslie" userId="S::lcaldarelli_luriechildrens.org#ext#@nuwildcat.onmicrosoft.com::cd79b54d-c14e-4199-a04a-39c6f592e710" providerId="AD" clId="Web-{BC047B72-8F18-01C2-FA60-A38A99380270}" dt="2023-10-31T03:37:37.894" v="300" actId="1076"/>
          <ac:spMkLst>
            <pc:docMk/>
            <pc:sldMk cId="3870927286" sldId="583"/>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0:41.148" v="521" actId="20577"/>
          <ac:spMkLst>
            <pc:docMk/>
            <pc:sldMk cId="3870927286" sldId="583"/>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3:58:48.738" v="510" actId="20577"/>
          <ac:spMkLst>
            <pc:docMk/>
            <pc:sldMk cId="3870927286" sldId="583"/>
            <ac:spMk id="27" creationId="{00000000-0000-0000-0000-000000000000}"/>
          </ac:spMkLst>
        </pc:spChg>
        <pc:spChg chg="mod">
          <ac:chgData name="Caldarelli, Leslie" userId="S::lcaldarelli_luriechildrens.org#ext#@nuwildcat.onmicrosoft.com::cd79b54d-c14e-4199-a04a-39c6f592e710" providerId="AD" clId="Web-{BC047B72-8F18-01C2-FA60-A38A99380270}" dt="2023-10-31T04:05:26.956" v="608" actId="20577"/>
          <ac:spMkLst>
            <pc:docMk/>
            <pc:sldMk cId="3870927286" sldId="583"/>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3:57:29.251" v="503" actId="20577"/>
          <ac:spMkLst>
            <pc:docMk/>
            <pc:sldMk cId="3870927286" sldId="583"/>
            <ac:spMk id="39" creationId="{00000000-0000-0000-0000-000000000000}"/>
          </ac:spMkLst>
        </pc:spChg>
        <pc:spChg chg="mod">
          <ac:chgData name="Caldarelli, Leslie" userId="S::lcaldarelli_luriechildrens.org#ext#@nuwildcat.onmicrosoft.com::cd79b54d-c14e-4199-a04a-39c6f592e710" providerId="AD" clId="Web-{BC047B72-8F18-01C2-FA60-A38A99380270}" dt="2023-10-31T04:01:58.292" v="534" actId="1076"/>
          <ac:spMkLst>
            <pc:docMk/>
            <pc:sldMk cId="3870927286" sldId="583"/>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3:37:29.300" v="299" actId="1076"/>
          <ac:spMkLst>
            <pc:docMk/>
            <pc:sldMk cId="3870927286" sldId="583"/>
            <ac:spMk id="51"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53:25.023" v="469" actId="20577"/>
        <pc:sldMkLst>
          <pc:docMk/>
          <pc:sldMk cId="3573947264" sldId="584"/>
        </pc:sldMkLst>
        <pc:spChg chg="mod">
          <ac:chgData name="Caldarelli, Leslie" userId="S::lcaldarelli_luriechildrens.org#ext#@nuwildcat.onmicrosoft.com::cd79b54d-c14e-4199-a04a-39c6f592e710" providerId="AD" clId="Web-{BC047B72-8F18-01C2-FA60-A38A99380270}" dt="2023-10-31T03:53:25.023" v="469" actId="20577"/>
          <ac:spMkLst>
            <pc:docMk/>
            <pc:sldMk cId="3573947264" sldId="584"/>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30:28.418" v="851"/>
        <pc:sldMkLst>
          <pc:docMk/>
          <pc:sldMk cId="3561966490" sldId="585"/>
        </pc:sldMkLst>
        <pc:spChg chg="mod">
          <ac:chgData name="Caldarelli, Leslie" userId="S::lcaldarelli_luriechildrens.org#ext#@nuwildcat.onmicrosoft.com::cd79b54d-c14e-4199-a04a-39c6f592e710" providerId="AD" clId="Web-{BC047B72-8F18-01C2-FA60-A38A99380270}" dt="2023-10-31T04:26:26.065" v="810" actId="1076"/>
          <ac:spMkLst>
            <pc:docMk/>
            <pc:sldMk cId="3561966490" sldId="585"/>
            <ac:spMk id="4" creationId="{00000000-0000-0000-0000-000000000000}"/>
          </ac:spMkLst>
        </pc:spChg>
        <pc:spChg chg="mod">
          <ac:chgData name="Caldarelli, Leslie" userId="S::lcaldarelli_luriechildrens.org#ext#@nuwildcat.onmicrosoft.com::cd79b54d-c14e-4199-a04a-39c6f592e710" providerId="AD" clId="Web-{BC047B72-8F18-01C2-FA60-A38A99380270}" dt="2023-10-31T04:27:26.224" v="816" actId="20577"/>
          <ac:spMkLst>
            <pc:docMk/>
            <pc:sldMk cId="3561966490" sldId="585"/>
            <ac:spMk id="7" creationId="{00000000-0000-0000-0000-000000000000}"/>
          </ac:spMkLst>
        </pc:spChg>
        <pc:spChg chg="mod">
          <ac:chgData name="Caldarelli, Leslie" userId="S::lcaldarelli_luriechildrens.org#ext#@nuwildcat.onmicrosoft.com::cd79b54d-c14e-4199-a04a-39c6f592e710" providerId="AD" clId="Web-{BC047B72-8F18-01C2-FA60-A38A99380270}" dt="2023-10-31T04:27:08.926" v="815" actId="20577"/>
          <ac:spMkLst>
            <pc:docMk/>
            <pc:sldMk cId="3561966490" sldId="585"/>
            <ac:spMk id="18" creationId="{00000000-0000-0000-0000-000000000000}"/>
          </ac:spMkLst>
        </pc:spChg>
        <pc:spChg chg="mod">
          <ac:chgData name="Caldarelli, Leslie" userId="S::lcaldarelli_luriechildrens.org#ext#@nuwildcat.onmicrosoft.com::cd79b54d-c14e-4199-a04a-39c6f592e710" providerId="AD" clId="Web-{BC047B72-8F18-01C2-FA60-A38A99380270}" dt="2023-10-31T04:27:00.410" v="814" actId="20577"/>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27:43.334" v="817"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BC047B72-8F18-01C2-FA60-A38A99380270}" dt="2023-10-31T04:28:00.350" v="819" actId="20577"/>
          <ac:spMkLst>
            <pc:docMk/>
            <pc:sldMk cId="3561966490" sldId="585"/>
            <ac:spMk id="2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26:00.127" v="807" actId="20577"/>
        <pc:sldMkLst>
          <pc:docMk/>
          <pc:sldMk cId="3809547791" sldId="586"/>
        </pc:sldMkLst>
        <pc:spChg chg="mod">
          <ac:chgData name="Caldarelli, Leslie" userId="S::lcaldarelli_luriechildrens.org#ext#@nuwildcat.onmicrosoft.com::cd79b54d-c14e-4199-a04a-39c6f592e710" providerId="AD" clId="Web-{BC047B72-8F18-01C2-FA60-A38A99380270}" dt="2023-10-31T04:25:16.719" v="803" actId="20577"/>
          <ac:spMkLst>
            <pc:docMk/>
            <pc:sldMk cId="3809547791" sldId="586"/>
            <ac:spMk id="36" creationId="{00000000-0000-0000-0000-000000000000}"/>
          </ac:spMkLst>
        </pc:spChg>
        <pc:spChg chg="mod">
          <ac:chgData name="Caldarelli, Leslie" userId="S::lcaldarelli_luriechildrens.org#ext#@nuwildcat.onmicrosoft.com::cd79b54d-c14e-4199-a04a-39c6f592e710" providerId="AD" clId="Web-{BC047B72-8F18-01C2-FA60-A38A99380270}" dt="2023-10-31T04:25:51.517" v="806" actId="14100"/>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BC047B72-8F18-01C2-FA60-A38A99380270}" dt="2023-10-31T04:26:00.127" v="807" actId="20577"/>
          <ac:spMkLst>
            <pc:docMk/>
            <pc:sldMk cId="3809547791" sldId="586"/>
            <ac:spMk id="47" creationId="{B8E0B5F5-B6A2-711D-2F6F-422E5E01B221}"/>
          </ac:spMkLst>
        </pc:spChg>
      </pc:sldChg>
      <pc:sldChg chg="modSp">
        <pc:chgData name="Caldarelli, Leslie" userId="S::lcaldarelli_luriechildrens.org#ext#@nuwildcat.onmicrosoft.com::cd79b54d-c14e-4199-a04a-39c6f592e710" providerId="AD" clId="Web-{BC047B72-8F18-01C2-FA60-A38A99380270}" dt="2023-10-31T04:18:19.985" v="754" actId="20577"/>
        <pc:sldMkLst>
          <pc:docMk/>
          <pc:sldMk cId="1598854783" sldId="587"/>
        </pc:sldMkLst>
        <pc:spChg chg="mod">
          <ac:chgData name="Caldarelli, Leslie" userId="S::lcaldarelli_luriechildrens.org#ext#@nuwildcat.onmicrosoft.com::cd79b54d-c14e-4199-a04a-39c6f592e710" providerId="AD" clId="Web-{BC047B72-8F18-01C2-FA60-A38A99380270}" dt="2023-10-31T04:18:19.985" v="754" actId="20577"/>
          <ac:spMkLst>
            <pc:docMk/>
            <pc:sldMk cId="1598854783" sldId="587"/>
            <ac:spMk id="42" creationId="{00000000-0000-0000-0000-000000000000}"/>
          </ac:spMkLst>
        </pc:spChg>
        <pc:spChg chg="mod">
          <ac:chgData name="Caldarelli, Leslie" userId="S::lcaldarelli_luriechildrens.org#ext#@nuwildcat.onmicrosoft.com::cd79b54d-c14e-4199-a04a-39c6f592e710" providerId="AD" clId="Web-{BC047B72-8F18-01C2-FA60-A38A99380270}" dt="2023-10-31T04:17:35.936" v="743" actId="20577"/>
          <ac:spMkLst>
            <pc:docMk/>
            <pc:sldMk cId="1598854783" sldId="587"/>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17:36.046" v="744" actId="1076"/>
          <ac:spMkLst>
            <pc:docMk/>
            <pc:sldMk cId="1598854783" sldId="587"/>
            <ac:spMk id="49" creationId="{E2210AC7-88E9-3DF2-B6FD-284390179A81}"/>
          </ac:spMkLst>
        </pc:spChg>
        <pc:spChg chg="mod">
          <ac:chgData name="Caldarelli, Leslie" userId="S::lcaldarelli_luriechildrens.org#ext#@nuwildcat.onmicrosoft.com::cd79b54d-c14e-4199-a04a-39c6f592e710" providerId="AD" clId="Web-{BC047B72-8F18-01C2-FA60-A38A99380270}" dt="2023-10-31T04:17:54.124" v="752" actId="14100"/>
          <ac:spMkLst>
            <pc:docMk/>
            <pc:sldMk cId="1598854783" sldId="587"/>
            <ac:spMk id="51" creationId="{24A2DEC9-4CC0-CBF0-5D9A-524D9EFAEE1C}"/>
          </ac:spMkLst>
        </pc:spChg>
        <pc:spChg chg="mod">
          <ac:chgData name="Caldarelli, Leslie" userId="S::lcaldarelli_luriechildrens.org#ext#@nuwildcat.onmicrosoft.com::cd79b54d-c14e-4199-a04a-39c6f592e710" providerId="AD" clId="Web-{BC047B72-8F18-01C2-FA60-A38A99380270}" dt="2023-10-31T04:17:36.452" v="749" actId="1076"/>
          <ac:spMkLst>
            <pc:docMk/>
            <pc:sldMk cId="1598854783" sldId="587"/>
            <ac:spMk id="53" creationId="{0E0706BB-4123-83DA-E93A-66A50F4484A3}"/>
          </ac:spMkLst>
        </pc:spChg>
      </pc:sldChg>
      <pc:sldChg chg="modSp">
        <pc:chgData name="Caldarelli, Leslie" userId="S::lcaldarelli_luriechildrens.org#ext#@nuwildcat.onmicrosoft.com::cd79b54d-c14e-4199-a04a-39c6f592e710" providerId="AD" clId="Web-{BC047B72-8F18-01C2-FA60-A38A99380270}" dt="2023-10-31T04:17:35.796" v="740" actId="1076"/>
        <pc:sldMkLst>
          <pc:docMk/>
          <pc:sldMk cId="3832963388" sldId="588"/>
        </pc:sldMkLst>
        <pc:spChg chg="mod">
          <ac:chgData name="Caldarelli, Leslie" userId="S::lcaldarelli_luriechildrens.org#ext#@nuwildcat.onmicrosoft.com::cd79b54d-c14e-4199-a04a-39c6f592e710" providerId="AD" clId="Web-{BC047B72-8F18-01C2-FA60-A38A99380270}" dt="2023-10-31T04:17:35.608" v="738" actId="1076"/>
          <ac:spMkLst>
            <pc:docMk/>
            <pc:sldMk cId="3832963388" sldId="588"/>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6:51.591" v="729" actId="20577"/>
          <ac:spMkLst>
            <pc:docMk/>
            <pc:sldMk cId="3832963388" sldId="588"/>
            <ac:spMk id="34" creationId="{00000000-0000-0000-0000-000000000000}"/>
          </ac:spMkLst>
        </pc:spChg>
        <pc:spChg chg="mod">
          <ac:chgData name="Caldarelli, Leslie" userId="S::lcaldarelli_luriechildrens.org#ext#@nuwildcat.onmicrosoft.com::cd79b54d-c14e-4199-a04a-39c6f592e710" providerId="AD" clId="Web-{BC047B72-8F18-01C2-FA60-A38A99380270}" dt="2023-10-31T04:17:35.702" v="739" actId="1076"/>
          <ac:spMkLst>
            <pc:docMk/>
            <pc:sldMk cId="3832963388" sldId="588"/>
            <ac:spMk id="36" creationId="{3EFC5C80-E693-6C51-4DEF-583812BEAB54}"/>
          </ac:spMkLst>
        </pc:spChg>
        <pc:spChg chg="mod">
          <ac:chgData name="Caldarelli, Leslie" userId="S::lcaldarelli_luriechildrens.org#ext#@nuwildcat.onmicrosoft.com::cd79b54d-c14e-4199-a04a-39c6f592e710" providerId="AD" clId="Web-{BC047B72-8F18-01C2-FA60-A38A99380270}" dt="2023-10-31T04:17:35.796" v="740" actId="1076"/>
          <ac:spMkLst>
            <pc:docMk/>
            <pc:sldMk cId="3832963388" sldId="588"/>
            <ac:spMk id="38" creationId="{9B32A794-89CE-3CF7-CCFB-FB03BB567C6D}"/>
          </ac:spMkLst>
        </pc:spChg>
      </pc:sldChg>
      <pc:sldChg chg="modSp">
        <pc:chgData name="Caldarelli, Leslie" userId="S::lcaldarelli_luriechildrens.org#ext#@nuwildcat.onmicrosoft.com::cd79b54d-c14e-4199-a04a-39c6f592e710" providerId="AD" clId="Web-{BC047B72-8F18-01C2-FA60-A38A99380270}" dt="2023-10-31T04:17:08.841" v="731" actId="20577"/>
        <pc:sldMkLst>
          <pc:docMk/>
          <pc:sldMk cId="435998680" sldId="589"/>
        </pc:sldMkLst>
        <pc:spChg chg="mod">
          <ac:chgData name="Caldarelli, Leslie" userId="S::lcaldarelli_luriechildrens.org#ext#@nuwildcat.onmicrosoft.com::cd79b54d-c14e-4199-a04a-39c6f592e710" providerId="AD" clId="Web-{BC047B72-8F18-01C2-FA60-A38A99380270}" dt="2023-10-31T04:16:08.417" v="721" actId="20577"/>
          <ac:spMkLst>
            <pc:docMk/>
            <pc:sldMk cId="435998680" sldId="589"/>
            <ac:spMk id="11" creationId="{00000000-0000-0000-0000-000000000000}"/>
          </ac:spMkLst>
        </pc:spChg>
        <pc:spChg chg="mod">
          <ac:chgData name="Caldarelli, Leslie" userId="S::lcaldarelli_luriechildrens.org#ext#@nuwildcat.onmicrosoft.com::cd79b54d-c14e-4199-a04a-39c6f592e710" providerId="AD" clId="Web-{BC047B72-8F18-01C2-FA60-A38A99380270}" dt="2023-10-31T04:16:25.668" v="724"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17:08.841" v="731" actId="20577"/>
          <ac:spMkLst>
            <pc:docMk/>
            <pc:sldMk cId="435998680" sldId="589"/>
            <ac:spMk id="17" creationId="{00000000-0000-0000-0000-000000000000}"/>
          </ac:spMkLst>
        </pc:spChg>
        <pc:spChg chg="mod">
          <ac:chgData name="Caldarelli, Leslie" userId="S::lcaldarelli_luriechildrens.org#ext#@nuwildcat.onmicrosoft.com::cd79b54d-c14e-4199-a04a-39c6f592e710" providerId="AD" clId="Web-{BC047B72-8F18-01C2-FA60-A38A99380270}" dt="2023-10-31T04:15:34.338" v="717" actId="1076"/>
          <ac:spMkLst>
            <pc:docMk/>
            <pc:sldMk cId="435998680" sldId="589"/>
            <ac:spMk id="19" creationId="{4F38B046-5CD5-F005-45E3-2034830DFD34}"/>
          </ac:spMkLst>
        </pc:spChg>
        <pc:spChg chg="mod">
          <ac:chgData name="Caldarelli, Leslie" userId="S::lcaldarelli_luriechildrens.org#ext#@nuwildcat.onmicrosoft.com::cd79b54d-c14e-4199-a04a-39c6f592e710" providerId="AD" clId="Web-{BC047B72-8F18-01C2-FA60-A38A99380270}" dt="2023-10-31T04:15:59.870" v="720" actId="20577"/>
          <ac:spMkLst>
            <pc:docMk/>
            <pc:sldMk cId="435998680" sldId="589"/>
            <ac:spMk id="21" creationId="{A35E0C3C-CC22-A1A0-8E94-9EEE65798BD1}"/>
          </ac:spMkLst>
        </pc:spChg>
      </pc:sldChg>
      <pc:sldChg chg="modSp">
        <pc:chgData name="Caldarelli, Leslie" userId="S::lcaldarelli_luriechildrens.org#ext#@nuwildcat.onmicrosoft.com::cd79b54d-c14e-4199-a04a-39c6f592e710" providerId="AD" clId="Web-{BC047B72-8F18-01C2-FA60-A38A99380270}" dt="2023-10-31T04:17:26.123" v="735" actId="20577"/>
        <pc:sldMkLst>
          <pc:docMk/>
          <pc:sldMk cId="595546358" sldId="590"/>
        </pc:sldMkLst>
        <pc:spChg chg="mod">
          <ac:chgData name="Caldarelli, Leslie" userId="S::lcaldarelli_luriechildrens.org#ext#@nuwildcat.onmicrosoft.com::cd79b54d-c14e-4199-a04a-39c6f592e710" providerId="AD" clId="Web-{BC047B72-8F18-01C2-FA60-A38A99380270}" dt="2023-10-31T04:14:42.773" v="711" actId="20577"/>
          <ac:spMkLst>
            <pc:docMk/>
            <pc:sldMk cId="595546358" sldId="590"/>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5:25.791" v="716" actId="20577"/>
          <ac:spMkLst>
            <pc:docMk/>
            <pc:sldMk cId="595546358" sldId="590"/>
            <ac:spMk id="25" creationId="{00000000-0000-0000-0000-000000000000}"/>
          </ac:spMkLst>
        </pc:spChg>
        <pc:spChg chg="mod">
          <ac:chgData name="Caldarelli, Leslie" userId="S::lcaldarelli_luriechildrens.org#ext#@nuwildcat.onmicrosoft.com::cd79b54d-c14e-4199-a04a-39c6f592e710" providerId="AD" clId="Web-{BC047B72-8F18-01C2-FA60-A38A99380270}" dt="2023-10-31T04:17:26.123" v="735" actId="20577"/>
          <ac:spMkLst>
            <pc:docMk/>
            <pc:sldMk cId="595546358" sldId="590"/>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14:59.884" v="713" actId="1076"/>
          <ac:spMkLst>
            <pc:docMk/>
            <pc:sldMk cId="595546358" sldId="590"/>
            <ac:spMk id="30" creationId="{53721EF8-C35D-834E-9339-D65FFE7AFF9A}"/>
          </ac:spMkLst>
        </pc:spChg>
        <pc:spChg chg="mod">
          <ac:chgData name="Caldarelli, Leslie" userId="S::lcaldarelli_luriechildrens.org#ext#@nuwildcat.onmicrosoft.com::cd79b54d-c14e-4199-a04a-39c6f592e710" providerId="AD" clId="Web-{BC047B72-8F18-01C2-FA60-A38A99380270}" dt="2023-10-31T04:15:17.275" v="715" actId="1076"/>
          <ac:spMkLst>
            <pc:docMk/>
            <pc:sldMk cId="595546358" sldId="590"/>
            <ac:spMk id="32" creationId="{F1AED984-C21E-AA63-E34E-DA61BCE8401F}"/>
          </ac:spMkLst>
        </pc:spChg>
      </pc:sldChg>
      <pc:sldChg chg="modSp modNotes">
        <pc:chgData name="Caldarelli, Leslie" userId="S::lcaldarelli_luriechildrens.org#ext#@nuwildcat.onmicrosoft.com::cd79b54d-c14e-4199-a04a-39c6f592e710" providerId="AD" clId="Web-{BC047B72-8F18-01C2-FA60-A38A99380270}" dt="2023-10-31T04:14:34.242" v="710" actId="20577"/>
        <pc:sldMkLst>
          <pc:docMk/>
          <pc:sldMk cId="629433230" sldId="591"/>
        </pc:sldMkLst>
        <pc:spChg chg="mod">
          <ac:chgData name="Caldarelli, Leslie" userId="S::lcaldarelli_luriechildrens.org#ext#@nuwildcat.onmicrosoft.com::cd79b54d-c14e-4199-a04a-39c6f592e710" providerId="AD" clId="Web-{BC047B72-8F18-01C2-FA60-A38A99380270}" dt="2023-10-31T04:13:05.614" v="665" actId="14100"/>
          <ac:spMkLst>
            <pc:docMk/>
            <pc:sldMk cId="629433230" sldId="591"/>
            <ac:spMk id="15" creationId="{00000000-0000-0000-0000-000000000000}"/>
          </ac:spMkLst>
        </pc:spChg>
        <pc:spChg chg="mod">
          <ac:chgData name="Caldarelli, Leslie" userId="S::lcaldarelli_luriechildrens.org#ext#@nuwildcat.onmicrosoft.com::cd79b54d-c14e-4199-a04a-39c6f592e710" providerId="AD" clId="Web-{BC047B72-8F18-01C2-FA60-A38A99380270}" dt="2023-10-31T04:13:14.911" v="672" actId="1076"/>
          <ac:spMkLst>
            <pc:docMk/>
            <pc:sldMk cId="629433230" sldId="591"/>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14:34.242" v="710" actId="20577"/>
          <ac:spMkLst>
            <pc:docMk/>
            <pc:sldMk cId="629433230" sldId="591"/>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3:14.411" v="666" actId="1076"/>
          <ac:spMkLst>
            <pc:docMk/>
            <pc:sldMk cId="629433230" sldId="591"/>
            <ac:spMk id="24" creationId="{82DED22A-2957-2107-97D2-7694FF88F0A5}"/>
          </ac:spMkLst>
        </pc:spChg>
        <pc:spChg chg="mod">
          <ac:chgData name="Caldarelli, Leslie" userId="S::lcaldarelli_luriechildrens.org#ext#@nuwildcat.onmicrosoft.com::cd79b54d-c14e-4199-a04a-39c6f592e710" providerId="AD" clId="Web-{BC047B72-8F18-01C2-FA60-A38A99380270}" dt="2023-10-31T04:13:14.848" v="671" actId="1076"/>
          <ac:spMkLst>
            <pc:docMk/>
            <pc:sldMk cId="629433230" sldId="591"/>
            <ac:spMk id="26" creationId="{7ADA2A22-B85F-E8A9-52B3-7FA1A111EB25}"/>
          </ac:spMkLst>
        </pc:spChg>
      </pc:sldChg>
      <pc:sldChg chg="modSp">
        <pc:chgData name="Caldarelli, Leslie" userId="S::lcaldarelli_luriechildrens.org#ext#@nuwildcat.onmicrosoft.com::cd79b54d-c14e-4199-a04a-39c6f592e710" providerId="AD" clId="Web-{BC047B72-8F18-01C2-FA60-A38A99380270}" dt="2023-10-31T02:11:46.662" v="41" actId="20577"/>
        <pc:sldMkLst>
          <pc:docMk/>
          <pc:sldMk cId="3726638559" sldId="616"/>
        </pc:sldMkLst>
        <pc:spChg chg="mod">
          <ac:chgData name="Caldarelli, Leslie" userId="S::lcaldarelli_luriechildrens.org#ext#@nuwildcat.onmicrosoft.com::cd79b54d-c14e-4199-a04a-39c6f592e710" providerId="AD" clId="Web-{BC047B72-8F18-01C2-FA60-A38A99380270}" dt="2023-10-31T02:11:46.662" v="41" actId="20577"/>
          <ac:spMkLst>
            <pc:docMk/>
            <pc:sldMk cId="3726638559" sldId="616"/>
            <ac:spMk id="2175"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0.690" v="659" actId="20577"/>
        <pc:sldMkLst>
          <pc:docMk/>
          <pc:sldMk cId="1210022179" sldId="617"/>
        </pc:sldMkLst>
        <pc:spChg chg="mod">
          <ac:chgData name="Caldarelli, Leslie" userId="S::lcaldarelli_luriechildrens.org#ext#@nuwildcat.onmicrosoft.com::cd79b54d-c14e-4199-a04a-39c6f592e710" providerId="AD" clId="Web-{BC047B72-8F18-01C2-FA60-A38A99380270}" dt="2023-10-31T04:12:30.690" v="659" actId="20577"/>
          <ac:spMkLst>
            <pc:docMk/>
            <pc:sldMk cId="1210022179" sldId="617"/>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07:53.118" v="628"/>
        <pc:sldMkLst>
          <pc:docMk/>
          <pc:sldMk cId="3850125703" sldId="622"/>
        </pc:sldMkLst>
        <pc:spChg chg="mod">
          <ac:chgData name="Caldarelli, Leslie" userId="S::lcaldarelli_luriechildrens.org#ext#@nuwildcat.onmicrosoft.com::cd79b54d-c14e-4199-a04a-39c6f592e710" providerId="AD" clId="Web-{BC047B72-8F18-01C2-FA60-A38A99380270}" dt="2023-10-31T04:04:52.267" v="604" actId="20577"/>
          <ac:spMkLst>
            <pc:docMk/>
            <pc:sldMk cId="3850125703" sldId="622"/>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5:18.268" v="607" actId="20577"/>
          <ac:spMkLst>
            <pc:docMk/>
            <pc:sldMk cId="3850125703" sldId="622"/>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06:01.551" v="613" actId="14100"/>
          <ac:spMkLst>
            <pc:docMk/>
            <pc:sldMk cId="3850125703" sldId="622"/>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7:01.538" v="621" actId="14100"/>
          <ac:spMkLst>
            <pc:docMk/>
            <pc:sldMk cId="3850125703" sldId="622"/>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07:36.039" v="627" actId="20577"/>
          <ac:spMkLst>
            <pc:docMk/>
            <pc:sldMk cId="3850125703" sldId="622"/>
            <ac:spMk id="49" creationId="{00000000-0000-0000-0000-000000000000}"/>
          </ac:spMkLst>
        </pc:spChg>
        <pc:spChg chg="mod">
          <ac:chgData name="Caldarelli, Leslie" userId="S::lcaldarelli_luriechildrens.org#ext#@nuwildcat.onmicrosoft.com::cd79b54d-c14e-4199-a04a-39c6f592e710" providerId="AD" clId="Web-{BC047B72-8F18-01C2-FA60-A38A99380270}" dt="2023-10-31T04:05:09.783" v="606" actId="20577"/>
          <ac:spMkLst>
            <pc:docMk/>
            <pc:sldMk cId="3850125703" sldId="622"/>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9.378" v="660" actId="20577"/>
        <pc:sldMkLst>
          <pc:docMk/>
          <pc:sldMk cId="2561278274" sldId="630"/>
        </pc:sldMkLst>
        <pc:spChg chg="mod">
          <ac:chgData name="Caldarelli, Leslie" userId="S::lcaldarelli_luriechildrens.org#ext#@nuwildcat.onmicrosoft.com::cd79b54d-c14e-4199-a04a-39c6f592e710" providerId="AD" clId="Web-{BC047B72-8F18-01C2-FA60-A38A99380270}" dt="2023-10-31T04:12:39.378" v="660" actId="20577"/>
          <ac:spMkLst>
            <pc:docMk/>
            <pc:sldMk cId="2561278274" sldId="630"/>
            <ac:spMk id="2" creationId="{A6FAA70D-3B97-AAF4-599A-5BEF539C23CA}"/>
          </ac:spMkLst>
        </pc:spChg>
      </pc:sldChg>
      <pc:sldChg chg="modSp">
        <pc:chgData name="Caldarelli, Leslie" userId="S::lcaldarelli_luriechildrens.org#ext#@nuwildcat.onmicrosoft.com::cd79b54d-c14e-4199-a04a-39c6f592e710" providerId="AD" clId="Web-{BC047B72-8F18-01C2-FA60-A38A99380270}" dt="2023-10-31T02:10:33.222" v="37" actId="1076"/>
        <pc:sldMkLst>
          <pc:docMk/>
          <pc:sldMk cId="1271905251" sldId="637"/>
        </pc:sldMkLst>
        <pc:spChg chg="mod">
          <ac:chgData name="Caldarelli, Leslie" userId="S::lcaldarelli_luriechildrens.org#ext#@nuwildcat.onmicrosoft.com::cd79b54d-c14e-4199-a04a-39c6f592e710" providerId="AD" clId="Web-{BC047B72-8F18-01C2-FA60-A38A99380270}" dt="2023-10-31T02:09:45.315" v="27" actId="20577"/>
          <ac:spMkLst>
            <pc:docMk/>
            <pc:sldMk cId="1271905251" sldId="637"/>
            <ac:spMk id="2" creationId="{AB9D5AD0-4A67-B828-DEC5-1146004A7755}"/>
          </ac:spMkLst>
        </pc:spChg>
        <pc:spChg chg="mod">
          <ac:chgData name="Caldarelli, Leslie" userId="S::lcaldarelli_luriechildrens.org#ext#@nuwildcat.onmicrosoft.com::cd79b54d-c14e-4199-a04a-39c6f592e710" providerId="AD" clId="Web-{BC047B72-8F18-01C2-FA60-A38A99380270}" dt="2023-10-31T02:10:33.222" v="37" actId="1076"/>
          <ac:spMkLst>
            <pc:docMk/>
            <pc:sldMk cId="1271905251" sldId="637"/>
            <ac:spMk id="3" creationId="{38BD8A99-C590-643F-CF50-2EEC68347C9C}"/>
          </ac:spMkLst>
        </pc:spChg>
      </pc:sldChg>
      <pc:sldChg chg="modSp">
        <pc:chgData name="Caldarelli, Leslie" userId="S::lcaldarelli_luriechildrens.org#ext#@nuwildcat.onmicrosoft.com::cd79b54d-c14e-4199-a04a-39c6f592e710" providerId="AD" clId="Web-{BC047B72-8F18-01C2-FA60-A38A99380270}" dt="2023-10-31T02:09:36.752" v="26" actId="14100"/>
        <pc:sldMkLst>
          <pc:docMk/>
          <pc:sldMk cId="2890705621" sldId="638"/>
        </pc:sldMkLst>
        <pc:spChg chg="mod">
          <ac:chgData name="Caldarelli, Leslie" userId="S::lcaldarelli_luriechildrens.org#ext#@nuwildcat.onmicrosoft.com::cd79b54d-c14e-4199-a04a-39c6f592e710" providerId="AD" clId="Web-{BC047B72-8F18-01C2-FA60-A38A99380270}" dt="2023-10-31T02:09:29.017" v="25" actId="14100"/>
          <ac:spMkLst>
            <pc:docMk/>
            <pc:sldMk cId="2890705621" sldId="638"/>
            <ac:spMk id="2" creationId="{C5D6A446-3EAF-1D26-0881-09F641FA1071}"/>
          </ac:spMkLst>
        </pc:spChg>
        <pc:spChg chg="mod">
          <ac:chgData name="Caldarelli, Leslie" userId="S::lcaldarelli_luriechildrens.org#ext#@nuwildcat.onmicrosoft.com::cd79b54d-c14e-4199-a04a-39c6f592e710" providerId="AD" clId="Web-{BC047B72-8F18-01C2-FA60-A38A99380270}" dt="2023-10-31T02:09:36.752" v="26" actId="14100"/>
          <ac:spMkLst>
            <pc:docMk/>
            <pc:sldMk cId="2890705621" sldId="638"/>
            <ac:spMk id="3" creationId="{11D1B208-3BF0-EBC8-BF8D-1C8378DBC20F}"/>
          </ac:spMkLst>
        </pc:spChg>
      </pc:sldChg>
      <pc:sldChg chg="modSp ord modNotes">
        <pc:chgData name="Caldarelli, Leslie" userId="S::lcaldarelli_luriechildrens.org#ext#@nuwildcat.onmicrosoft.com::cd79b54d-c14e-4199-a04a-39c6f592e710" providerId="AD" clId="Web-{BC047B72-8F18-01C2-FA60-A38A99380270}" dt="2023-10-31T04:04:35.079" v="599" actId="20577"/>
        <pc:sldMkLst>
          <pc:docMk/>
          <pc:sldMk cId="113281680" sldId="642"/>
        </pc:sldMkLst>
        <pc:spChg chg="mod">
          <ac:chgData name="Caldarelli, Leslie" userId="S::lcaldarelli_luriechildrens.org#ext#@nuwildcat.onmicrosoft.com::cd79b54d-c14e-4199-a04a-39c6f592e710" providerId="AD" clId="Web-{BC047B72-8F18-01C2-FA60-A38A99380270}" dt="2023-10-31T04:02:23.949" v="538" actId="20577"/>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BC047B72-8F18-01C2-FA60-A38A99380270}" dt="2023-10-31T04:04:35.079" v="599" actId="20577"/>
          <ac:spMkLst>
            <pc:docMk/>
            <pc:sldMk cId="113281680" sldId="642"/>
            <ac:spMk id="3" creationId="{9038DB7D-70BC-F3BC-5E8D-8CFC7F509BED}"/>
          </ac:spMkLst>
        </pc:spChg>
      </pc:sldChg>
      <pc:sldChg chg="modSp">
        <pc:chgData name="Caldarelli, Leslie" userId="S::lcaldarelli_luriechildrens.org#ext#@nuwildcat.onmicrosoft.com::cd79b54d-c14e-4199-a04a-39c6f592e710" providerId="AD" clId="Web-{BC047B72-8F18-01C2-FA60-A38A99380270}" dt="2023-10-31T04:33:13.252" v="935" actId="20577"/>
        <pc:sldMkLst>
          <pc:docMk/>
          <pc:sldMk cId="2443892533" sldId="643"/>
        </pc:sldMkLst>
        <pc:spChg chg="mod">
          <ac:chgData name="Caldarelli, Leslie" userId="S::lcaldarelli_luriechildrens.org#ext#@nuwildcat.onmicrosoft.com::cd79b54d-c14e-4199-a04a-39c6f592e710" providerId="AD" clId="Web-{BC047B72-8F18-01C2-FA60-A38A99380270}" dt="2023-10-31T04:33:03.955" v="913"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BC047B72-8F18-01C2-FA60-A38A99380270}" dt="2023-10-31T04:33:13.252" v="935" actId="20577"/>
          <ac:spMkLst>
            <pc:docMk/>
            <pc:sldMk cId="2443892533" sldId="643"/>
            <ac:spMk id="10" creationId="{F7DE78CF-32A6-61A0-EEC5-F837E089D3A4}"/>
          </ac:spMkLst>
        </pc:spChg>
      </pc:sldChg>
    </pc:docChg>
  </pc:docChgLst>
  <pc:docChgLst>
    <pc:chgData name="Eileen Fleming Suse" userId="S::efs3844@ads.northwestern.edu::725c94ef-d051-42d7-9d33-8572765d592b" providerId="AD" clId="Web-{AFE245F6-AF84-51BF-AB4C-88F7188B99E6}"/>
    <pc:docChg chg="modSld">
      <pc:chgData name="Eileen Fleming Suse" userId="S::efs3844@ads.northwestern.edu::725c94ef-d051-42d7-9d33-8572765d592b" providerId="AD" clId="Web-{AFE245F6-AF84-51BF-AB4C-88F7188B99E6}" dt="2023-10-31T20:15:08.574" v="74" actId="1076"/>
      <pc:docMkLst>
        <pc:docMk/>
      </pc:docMkLst>
      <pc:sldChg chg="modSp">
        <pc:chgData name="Eileen Fleming Suse" userId="S::efs3844@ads.northwestern.edu::725c94ef-d051-42d7-9d33-8572765d592b" providerId="AD" clId="Web-{AFE245F6-AF84-51BF-AB4C-88F7188B99E6}" dt="2023-10-31T20:14:55.604" v="73" actId="1076"/>
        <pc:sldMkLst>
          <pc:docMk/>
          <pc:sldMk cId="1536434647" sldId="564"/>
        </pc:sldMkLst>
        <pc:spChg chg="mod">
          <ac:chgData name="Eileen Fleming Suse" userId="S::efs3844@ads.northwestern.edu::725c94ef-d051-42d7-9d33-8572765d592b" providerId="AD" clId="Web-{AFE245F6-AF84-51BF-AB4C-88F7188B99E6}" dt="2023-10-31T20:14:55.604" v="73" actId="1076"/>
          <ac:spMkLst>
            <pc:docMk/>
            <pc:sldMk cId="1536434647" sldId="564"/>
            <ac:spMk id="51" creationId="{DADB789B-D1D8-A439-C1FC-0121F131E706}"/>
          </ac:spMkLst>
        </pc:spChg>
        <pc:spChg chg="mod">
          <ac:chgData name="Eileen Fleming Suse" userId="S::efs3844@ads.northwestern.edu::725c94ef-d051-42d7-9d33-8572765d592b" providerId="AD" clId="Web-{AFE245F6-AF84-51BF-AB4C-88F7188B99E6}" dt="2023-10-31T20:14:52.745" v="72" actId="1076"/>
          <ac:spMkLst>
            <pc:docMk/>
            <pc:sldMk cId="1536434647" sldId="564"/>
            <ac:spMk id="53" creationId="{7AA1F7FA-AA52-FED3-1784-BE66C8A7FBFC}"/>
          </ac:spMkLst>
        </pc:spChg>
      </pc:sldChg>
      <pc:sldChg chg="addSp modSp">
        <pc:chgData name="Eileen Fleming Suse" userId="S::efs3844@ads.northwestern.edu::725c94ef-d051-42d7-9d33-8572765d592b" providerId="AD" clId="Web-{AFE245F6-AF84-51BF-AB4C-88F7188B99E6}" dt="2023-10-31T20:14:16.650" v="71"/>
        <pc:sldMkLst>
          <pc:docMk/>
          <pc:sldMk cId="3030449316" sldId="579"/>
        </pc:sldMkLst>
        <pc:spChg chg="mod ord">
          <ac:chgData name="Eileen Fleming Suse" userId="S::efs3844@ads.northwestern.edu::725c94ef-d051-42d7-9d33-8572765d592b" providerId="AD" clId="Web-{AFE245F6-AF84-51BF-AB4C-88F7188B99E6}" dt="2023-10-31T20:14:16.650" v="71"/>
          <ac:spMkLst>
            <pc:docMk/>
            <pc:sldMk cId="3030449316" sldId="579"/>
            <ac:spMk id="10" creationId="{00000000-0000-0000-0000-000000000000}"/>
          </ac:spMkLst>
        </pc:spChg>
        <pc:spChg chg="mod">
          <ac:chgData name="Eileen Fleming Suse" userId="S::efs3844@ads.northwestern.edu::725c94ef-d051-42d7-9d33-8572765d592b" providerId="AD" clId="Web-{AFE245F6-AF84-51BF-AB4C-88F7188B99E6}" dt="2023-10-31T20:05:09.091" v="6" actId="1076"/>
          <ac:spMkLst>
            <pc:docMk/>
            <pc:sldMk cId="3030449316" sldId="579"/>
            <ac:spMk id="11" creationId="{00000000-0000-0000-0000-000000000000}"/>
          </ac:spMkLst>
        </pc:spChg>
        <pc:spChg chg="mod">
          <ac:chgData name="Eileen Fleming Suse" userId="S::efs3844@ads.northwestern.edu::725c94ef-d051-42d7-9d33-8572765d592b" providerId="AD" clId="Web-{AFE245F6-AF84-51BF-AB4C-88F7188B99E6}" dt="2023-10-31T20:05:59.358" v="20" actId="1076"/>
          <ac:spMkLst>
            <pc:docMk/>
            <pc:sldMk cId="3030449316" sldId="579"/>
            <ac:spMk id="12" creationId="{00000000-0000-0000-0000-000000000000}"/>
          </ac:spMkLst>
        </pc:spChg>
        <pc:spChg chg="mod">
          <ac:chgData name="Eileen Fleming Suse" userId="S::efs3844@ads.northwestern.edu::725c94ef-d051-42d7-9d33-8572765d592b" providerId="AD" clId="Web-{AFE245F6-AF84-51BF-AB4C-88F7188B99E6}" dt="2023-10-31T20:04:52.716" v="3" actId="1076"/>
          <ac:spMkLst>
            <pc:docMk/>
            <pc:sldMk cId="3030449316" sldId="579"/>
            <ac:spMk id="13" creationId="{00000000-0000-0000-0000-000000000000}"/>
          </ac:spMkLst>
        </pc:spChg>
        <pc:spChg chg="mod">
          <ac:chgData name="Eileen Fleming Suse" userId="S::efs3844@ads.northwestern.edu::725c94ef-d051-42d7-9d33-8572765d592b" providerId="AD" clId="Web-{AFE245F6-AF84-51BF-AB4C-88F7188B99E6}" dt="2023-10-31T20:06:52.046" v="34" actId="1076"/>
          <ac:spMkLst>
            <pc:docMk/>
            <pc:sldMk cId="3030449316" sldId="579"/>
            <ac:spMk id="32" creationId="{00000000-0000-0000-0000-000000000000}"/>
          </ac:spMkLst>
        </pc:spChg>
        <pc:spChg chg="mod">
          <ac:chgData name="Eileen Fleming Suse" userId="S::efs3844@ads.northwestern.edu::725c94ef-d051-42d7-9d33-8572765d592b" providerId="AD" clId="Web-{AFE245F6-AF84-51BF-AB4C-88F7188B99E6}" dt="2023-10-31T20:07:17.860" v="38" actId="1076"/>
          <ac:spMkLst>
            <pc:docMk/>
            <pc:sldMk cId="3030449316" sldId="579"/>
            <ac:spMk id="40" creationId="{00000000-0000-0000-0000-000000000000}"/>
          </ac:spMkLst>
        </pc:spChg>
        <pc:spChg chg="mod ord">
          <ac:chgData name="Eileen Fleming Suse" userId="S::efs3844@ads.northwestern.edu::725c94ef-d051-42d7-9d33-8572765d592b" providerId="AD" clId="Web-{AFE245F6-AF84-51BF-AB4C-88F7188B99E6}" dt="2023-10-31T20:11:55.147" v="65" actId="1076"/>
          <ac:spMkLst>
            <pc:docMk/>
            <pc:sldMk cId="3030449316" sldId="579"/>
            <ac:spMk id="41" creationId="{00000000-0000-0000-0000-000000000000}"/>
          </ac:spMkLst>
        </pc:spChg>
        <pc:spChg chg="mod">
          <ac:chgData name="Eileen Fleming Suse" userId="S::efs3844@ads.northwestern.edu::725c94ef-d051-42d7-9d33-8572765d592b" providerId="AD" clId="Web-{AFE245F6-AF84-51BF-AB4C-88F7188B99E6}" dt="2023-10-31T20:06:00.717" v="21" actId="1076"/>
          <ac:spMkLst>
            <pc:docMk/>
            <pc:sldMk cId="3030449316" sldId="579"/>
            <ac:spMk id="42" creationId="{00000000-0000-0000-0000-000000000000}"/>
          </ac:spMkLst>
        </pc:spChg>
        <pc:spChg chg="mod">
          <ac:chgData name="Eileen Fleming Suse" userId="S::efs3844@ads.northwestern.edu::725c94ef-d051-42d7-9d33-8572765d592b" providerId="AD" clId="Web-{AFE245F6-AF84-51BF-AB4C-88F7188B99E6}" dt="2023-10-31T20:06:22.327" v="27" actId="1076"/>
          <ac:spMkLst>
            <pc:docMk/>
            <pc:sldMk cId="3030449316" sldId="579"/>
            <ac:spMk id="43" creationId="{00000000-0000-0000-0000-000000000000}"/>
          </ac:spMkLst>
        </pc:spChg>
        <pc:spChg chg="mod">
          <ac:chgData name="Eileen Fleming Suse" userId="S::efs3844@ads.northwestern.edu::725c94ef-d051-42d7-9d33-8572765d592b" providerId="AD" clId="Web-{AFE245F6-AF84-51BF-AB4C-88F7188B99E6}" dt="2023-10-31T20:12:57.852" v="66"/>
          <ac:spMkLst>
            <pc:docMk/>
            <pc:sldMk cId="3030449316" sldId="579"/>
            <ac:spMk id="44" creationId="{00000000-0000-0000-0000-000000000000}"/>
          </ac:spMkLst>
        </pc:spChg>
        <pc:spChg chg="mod">
          <ac:chgData name="Eileen Fleming Suse" userId="S::efs3844@ads.northwestern.edu::725c94ef-d051-42d7-9d33-8572765d592b" providerId="AD" clId="Web-{AFE245F6-AF84-51BF-AB4C-88F7188B99E6}" dt="2023-10-31T20:06:34.155" v="29" actId="1076"/>
          <ac:spMkLst>
            <pc:docMk/>
            <pc:sldMk cId="3030449316" sldId="579"/>
            <ac:spMk id="46" creationId="{00000000-0000-0000-0000-000000000000}"/>
          </ac:spMkLst>
        </pc:spChg>
        <pc:spChg chg="mod">
          <ac:chgData name="Eileen Fleming Suse" userId="S::efs3844@ads.northwestern.edu::725c94ef-d051-42d7-9d33-8572765d592b" providerId="AD" clId="Web-{AFE245F6-AF84-51BF-AB4C-88F7188B99E6}" dt="2023-10-31T20:05:56.186" v="19" actId="1076"/>
          <ac:spMkLst>
            <pc:docMk/>
            <pc:sldMk cId="3030449316" sldId="579"/>
            <ac:spMk id="47" creationId="{00000000-0000-0000-0000-000000000000}"/>
          </ac:spMkLst>
        </pc:spChg>
        <pc:spChg chg="mod">
          <ac:chgData name="Eileen Fleming Suse" userId="S::efs3844@ads.northwestern.edu::725c94ef-d051-42d7-9d33-8572765d592b" providerId="AD" clId="Web-{AFE245F6-AF84-51BF-AB4C-88F7188B99E6}" dt="2023-10-31T20:11:15.740" v="55"/>
          <ac:spMkLst>
            <pc:docMk/>
            <pc:sldMk cId="3030449316" sldId="579"/>
            <ac:spMk id="50" creationId="{00000000-0000-0000-0000-000000000000}"/>
          </ac:spMkLst>
        </pc:spChg>
        <pc:spChg chg="mod">
          <ac:chgData name="Eileen Fleming Suse" userId="S::efs3844@ads.northwestern.edu::725c94ef-d051-42d7-9d33-8572765d592b" providerId="AD" clId="Web-{AFE245F6-AF84-51BF-AB4C-88F7188B99E6}" dt="2023-10-31T20:05:18.716" v="8" actId="1076"/>
          <ac:spMkLst>
            <pc:docMk/>
            <pc:sldMk cId="3030449316" sldId="579"/>
            <ac:spMk id="56" creationId="{AB0F7BDF-C613-8BB0-BFCB-8F26B40EC06E}"/>
          </ac:spMkLst>
        </pc:spChg>
        <pc:spChg chg="mod">
          <ac:chgData name="Eileen Fleming Suse" userId="S::efs3844@ads.northwestern.edu::725c94ef-d051-42d7-9d33-8572765d592b" providerId="AD" clId="Web-{AFE245F6-AF84-51BF-AB4C-88F7188B99E6}" dt="2023-10-31T20:14:05.056" v="69"/>
          <ac:spMkLst>
            <pc:docMk/>
            <pc:sldMk cId="3030449316" sldId="579"/>
            <ac:spMk id="57" creationId="{00246169-A4F3-5ED8-8A94-4557BB21D7AB}"/>
          </ac:spMkLst>
        </pc:spChg>
        <pc:spChg chg="mod">
          <ac:chgData name="Eileen Fleming Suse" userId="S::efs3844@ads.northwestern.edu::725c94ef-d051-42d7-9d33-8572765d592b" providerId="AD" clId="Web-{AFE245F6-AF84-51BF-AB4C-88F7188B99E6}" dt="2023-10-31T20:14:05.072" v="70"/>
          <ac:spMkLst>
            <pc:docMk/>
            <pc:sldMk cId="3030449316" sldId="579"/>
            <ac:spMk id="58" creationId="{5DE913D1-6F60-94B9-10FF-534A5E538AB8}"/>
          </ac:spMkLst>
        </pc:spChg>
        <pc:spChg chg="add mod">
          <ac:chgData name="Eileen Fleming Suse" userId="S::efs3844@ads.northwestern.edu::725c94ef-d051-42d7-9d33-8572765d592b" providerId="AD" clId="Web-{AFE245F6-AF84-51BF-AB4C-88F7188B99E6}" dt="2023-10-31T20:11:52.100" v="64" actId="1076"/>
          <ac:spMkLst>
            <pc:docMk/>
            <pc:sldMk cId="3030449316" sldId="579"/>
            <ac:spMk id="60" creationId="{A85E379C-4C1C-B6B4-A543-3DF6B25DACF8}"/>
          </ac:spMkLst>
        </pc:spChg>
        <pc:spChg chg="add mod">
          <ac:chgData name="Eileen Fleming Suse" userId="S::efs3844@ads.northwestern.edu::725c94ef-d051-42d7-9d33-8572765d592b" providerId="AD" clId="Web-{AFE245F6-AF84-51BF-AB4C-88F7188B99E6}" dt="2023-10-31T20:11:34.803" v="62" actId="1076"/>
          <ac:spMkLst>
            <pc:docMk/>
            <pc:sldMk cId="3030449316" sldId="579"/>
            <ac:spMk id="61" creationId="{24C1FDA7-3400-B267-F027-73B2E0675C53}"/>
          </ac:spMkLst>
        </pc:spChg>
        <pc:spChg chg="add mod">
          <ac:chgData name="Eileen Fleming Suse" userId="S::efs3844@ads.northwestern.edu::725c94ef-d051-42d7-9d33-8572765d592b" providerId="AD" clId="Web-{AFE245F6-AF84-51BF-AB4C-88F7188B99E6}" dt="2023-10-31T20:13:55.197" v="68" actId="1076"/>
          <ac:spMkLst>
            <pc:docMk/>
            <pc:sldMk cId="3030449316" sldId="579"/>
            <ac:spMk id="63" creationId="{76FF9F61-EDF0-6510-36D2-8E579D614428}"/>
          </ac:spMkLst>
        </pc:spChg>
        <pc:grpChg chg="mod">
          <ac:chgData name="Eileen Fleming Suse" userId="S::efs3844@ads.northwestern.edu::725c94ef-d051-42d7-9d33-8572765d592b" providerId="AD" clId="Web-{AFE245F6-AF84-51BF-AB4C-88F7188B99E6}" dt="2023-10-31T20:06:05.811" v="22" actId="14100"/>
          <ac:grpSpMkLst>
            <pc:docMk/>
            <pc:sldMk cId="3030449316" sldId="579"/>
            <ac:grpSpMk id="3" creationId="{00000000-0000-0000-0000-000000000000}"/>
          </ac:grpSpMkLst>
        </pc:grpChg>
        <pc:grpChg chg="mod">
          <ac:chgData name="Eileen Fleming Suse" userId="S::efs3844@ads.northwestern.edu::725c94ef-d051-42d7-9d33-8572765d592b" providerId="AD" clId="Web-{AFE245F6-AF84-51BF-AB4C-88F7188B99E6}" dt="2023-10-31T20:06:45.515" v="32" actId="14100"/>
          <ac:grpSpMkLst>
            <pc:docMk/>
            <pc:sldMk cId="3030449316" sldId="579"/>
            <ac:grpSpMk id="7" creationId="{00000000-0000-0000-0000-000000000000}"/>
          </ac:grpSpMkLst>
        </pc:grpChg>
        <pc:grpChg chg="mod">
          <ac:chgData name="Eileen Fleming Suse" userId="S::efs3844@ads.northwestern.edu::725c94ef-d051-42d7-9d33-8572765d592b" providerId="AD" clId="Web-{AFE245F6-AF84-51BF-AB4C-88F7188B99E6}" dt="2023-10-31T20:06:16.264" v="24" actId="14100"/>
          <ac:grpSpMkLst>
            <pc:docMk/>
            <pc:sldMk cId="3030449316" sldId="579"/>
            <ac:grpSpMk id="29" creationId="{00000000-0000-0000-0000-000000000000}"/>
          </ac:grpSpMkLst>
        </pc:grpChg>
        <pc:grpChg chg="add mod">
          <ac:chgData name="Eileen Fleming Suse" userId="S::efs3844@ads.northwestern.edu::725c94ef-d051-42d7-9d33-8572765d592b" providerId="AD" clId="Web-{AFE245F6-AF84-51BF-AB4C-88F7188B99E6}" dt="2023-10-31T20:07:27.407" v="39" actId="1076"/>
          <ac:grpSpMkLst>
            <pc:docMk/>
            <pc:sldMk cId="3030449316" sldId="579"/>
            <ac:grpSpMk id="52" creationId="{8A92A364-B996-B49C-BDA0-BAA1F5A15866}"/>
          </ac:grpSpMkLst>
        </pc:grpChg>
        <pc:cxnChg chg="mod">
          <ac:chgData name="Eileen Fleming Suse" userId="S::efs3844@ads.northwestern.edu::725c94ef-d051-42d7-9d33-8572765d592b" providerId="AD" clId="Web-{AFE245F6-AF84-51BF-AB4C-88F7188B99E6}" dt="2023-10-31T20:07:30.219" v="40" actId="14100"/>
          <ac:cxnSpMkLst>
            <pc:docMk/>
            <pc:sldMk cId="3030449316" sldId="579"/>
            <ac:cxnSpMk id="54" creationId="{52D6BD58-A1C0-4097-567A-36996C8B9E0B}"/>
          </ac:cxnSpMkLst>
        </pc:cxnChg>
        <pc:cxnChg chg="add mod">
          <ac:chgData name="Eileen Fleming Suse" userId="S::efs3844@ads.northwestern.edu::725c94ef-d051-42d7-9d33-8572765d592b" providerId="AD" clId="Web-{AFE245F6-AF84-51BF-AB4C-88F7188B99E6}" dt="2023-10-31T20:07:37.688" v="43" actId="14100"/>
          <ac:cxnSpMkLst>
            <pc:docMk/>
            <pc:sldMk cId="3030449316" sldId="579"/>
            <ac:cxnSpMk id="59" creationId="{6AB28071-935B-166B-0CEE-EC97EB10FF51}"/>
          </ac:cxnSpMkLst>
        </pc:cxnChg>
      </pc:sldChg>
      <pc:sldChg chg="modSp">
        <pc:chgData name="Eileen Fleming Suse" userId="S::efs3844@ads.northwestern.edu::725c94ef-d051-42d7-9d33-8572765d592b" providerId="AD" clId="Web-{AFE245F6-AF84-51BF-AB4C-88F7188B99E6}" dt="2023-10-31T20:15:08.574" v="74" actId="1076"/>
        <pc:sldMkLst>
          <pc:docMk/>
          <pc:sldMk cId="595546358" sldId="590"/>
        </pc:sldMkLst>
        <pc:spChg chg="mod">
          <ac:chgData name="Eileen Fleming Suse" userId="S::efs3844@ads.northwestern.edu::725c94ef-d051-42d7-9d33-8572765d592b" providerId="AD" clId="Web-{AFE245F6-AF84-51BF-AB4C-88F7188B99E6}" dt="2023-10-31T20:15:08.574" v="74" actId="1076"/>
          <ac:spMkLst>
            <pc:docMk/>
            <pc:sldMk cId="595546358" sldId="590"/>
            <ac:spMk id="30" creationId="{53721EF8-C35D-834E-9339-D65FFE7AFF9A}"/>
          </ac:spMkLst>
        </pc:spChg>
      </pc:sldChg>
    </pc:docChg>
  </pc:docChgLst>
  <pc:docChgLst>
    <pc:chgData name="Eileen Fleming Suse" userId="S::efs3844@ads.northwestern.edu::725c94ef-d051-42d7-9d33-8572765d592b" providerId="AD" clId="Web-{8024C570-7E9A-022B-CE90-C0FD861720C1}"/>
    <pc:docChg chg="addSld modSld">
      <pc:chgData name="Eileen Fleming Suse" userId="S::efs3844@ads.northwestern.edu::725c94ef-d051-42d7-9d33-8572765d592b" providerId="AD" clId="Web-{8024C570-7E9A-022B-CE90-C0FD861720C1}" dt="2023-10-23T23:03:50.878" v="517"/>
      <pc:docMkLst>
        <pc:docMk/>
      </pc:docMkLst>
      <pc:sldChg chg="modSp">
        <pc:chgData name="Eileen Fleming Suse" userId="S::efs3844@ads.northwestern.edu::725c94ef-d051-42d7-9d33-8572765d592b" providerId="AD" clId="Web-{8024C570-7E9A-022B-CE90-C0FD861720C1}" dt="2023-10-23T22:30:55.096" v="1" actId="20577"/>
        <pc:sldMkLst>
          <pc:docMk/>
          <pc:sldMk cId="3127921386" sldId="280"/>
        </pc:sldMkLst>
        <pc:spChg chg="mod">
          <ac:chgData name="Eileen Fleming Suse" userId="S::efs3844@ads.northwestern.edu::725c94ef-d051-42d7-9d33-8572765d592b" providerId="AD" clId="Web-{8024C570-7E9A-022B-CE90-C0FD861720C1}" dt="2023-10-23T22:30:55.096" v="1" actId="20577"/>
          <ac:spMkLst>
            <pc:docMk/>
            <pc:sldMk cId="3127921386" sldId="280"/>
            <ac:spMk id="4" creationId="{19922563-64D6-2A4E-B048-13AC25DB45AD}"/>
          </ac:spMkLst>
        </pc:spChg>
      </pc:sldChg>
      <pc:sldChg chg="modSp">
        <pc:chgData name="Eileen Fleming Suse" userId="S::efs3844@ads.northwestern.edu::725c94ef-d051-42d7-9d33-8572765d592b" providerId="AD" clId="Web-{8024C570-7E9A-022B-CE90-C0FD861720C1}" dt="2023-10-23T23:01:55.094" v="478" actId="20577"/>
        <pc:sldMkLst>
          <pc:docMk/>
          <pc:sldMk cId="4044691067" sldId="283"/>
        </pc:sldMkLst>
        <pc:spChg chg="mod">
          <ac:chgData name="Eileen Fleming Suse" userId="S::efs3844@ads.northwestern.edu::725c94ef-d051-42d7-9d33-8572765d592b" providerId="AD" clId="Web-{8024C570-7E9A-022B-CE90-C0FD861720C1}" dt="2023-10-23T23:01:55.094" v="478" actId="20577"/>
          <ac:spMkLst>
            <pc:docMk/>
            <pc:sldMk cId="4044691067" sldId="283"/>
            <ac:spMk id="16387" creationId="{00000000-0000-0000-0000-000000000000}"/>
          </ac:spMkLst>
        </pc:spChg>
      </pc:sldChg>
      <pc:sldChg chg="delCm">
        <pc:chgData name="Eileen Fleming Suse" userId="S::efs3844@ads.northwestern.edu::725c94ef-d051-42d7-9d33-8572765d592b" providerId="AD" clId="Web-{8024C570-7E9A-022B-CE90-C0FD861720C1}" dt="2023-10-23T22:43:45.317" v="154"/>
        <pc:sldMkLst>
          <pc:docMk/>
          <pc:sldMk cId="1231844700" sldId="55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8024C570-7E9A-022B-CE90-C0FD861720C1}" dt="2023-10-23T22:43:45.317" v="154"/>
              <pc2:cmMkLst xmlns:pc2="http://schemas.microsoft.com/office/powerpoint/2019/9/main/command">
                <pc:docMk/>
                <pc:sldMk cId="1231844700" sldId="554"/>
                <pc2:cmMk id="{30D146EB-BFA1-4AFA-93C4-FA1954A298F6}"/>
              </pc2:cmMkLst>
            </pc226:cmChg>
          </p:ext>
        </pc:extLst>
      </pc:sldChg>
      <pc:sldChg chg="addSp modSp">
        <pc:chgData name="Eileen Fleming Suse" userId="S::efs3844@ads.northwestern.edu::725c94ef-d051-42d7-9d33-8572765d592b" providerId="AD" clId="Web-{8024C570-7E9A-022B-CE90-C0FD861720C1}" dt="2023-10-23T22:43:34.286" v="153" actId="20577"/>
        <pc:sldMkLst>
          <pc:docMk/>
          <pc:sldMk cId="1522616096" sldId="555"/>
        </pc:sldMkLst>
        <pc:spChg chg="mod">
          <ac:chgData name="Eileen Fleming Suse" userId="S::efs3844@ads.northwestern.edu::725c94ef-d051-42d7-9d33-8572765d592b" providerId="AD" clId="Web-{8024C570-7E9A-022B-CE90-C0FD861720C1}" dt="2023-10-23T22:43:34.286" v="153" actId="20577"/>
          <ac:spMkLst>
            <pc:docMk/>
            <pc:sldMk cId="1522616096" sldId="555"/>
            <ac:spMk id="2" creationId="{F40AE700-1499-46B3-C70A-C723802CD680}"/>
          </ac:spMkLst>
        </pc:spChg>
        <pc:spChg chg="add mod">
          <ac:chgData name="Eileen Fleming Suse" userId="S::efs3844@ads.northwestern.edu::725c94ef-d051-42d7-9d33-8572765d592b" providerId="AD" clId="Web-{8024C570-7E9A-022B-CE90-C0FD861720C1}" dt="2023-10-23T22:40:06.844" v="76" actId="1076"/>
          <ac:spMkLst>
            <pc:docMk/>
            <pc:sldMk cId="1522616096" sldId="555"/>
            <ac:spMk id="3" creationId="{1C814D25-66C5-ACFC-3102-DB1C47E8E790}"/>
          </ac:spMkLst>
        </pc:spChg>
        <pc:spChg chg="add mod">
          <ac:chgData name="Eileen Fleming Suse" userId="S::efs3844@ads.northwestern.edu::725c94ef-d051-42d7-9d33-8572765d592b" providerId="AD" clId="Web-{8024C570-7E9A-022B-CE90-C0FD861720C1}" dt="2023-10-23T22:40:01.390" v="74" actId="1076"/>
          <ac:spMkLst>
            <pc:docMk/>
            <pc:sldMk cId="1522616096" sldId="555"/>
            <ac:spMk id="4" creationId="{3D49CA6C-78ED-3124-7EE3-BBDDC9988910}"/>
          </ac:spMkLst>
        </pc:spChg>
        <pc:spChg chg="add mod">
          <ac:chgData name="Eileen Fleming Suse" userId="S::efs3844@ads.northwestern.edu::725c94ef-d051-42d7-9d33-8572765d592b" providerId="AD" clId="Web-{8024C570-7E9A-022B-CE90-C0FD861720C1}" dt="2023-10-23T22:41:37.408" v="150" actId="14100"/>
          <ac:spMkLst>
            <pc:docMk/>
            <pc:sldMk cId="1522616096" sldId="555"/>
            <ac:spMk id="5" creationId="{19C1D751-08DD-BD76-1181-C434C9849C27}"/>
          </ac:spMkLst>
        </pc:spChg>
        <pc:spChg chg="mod">
          <ac:chgData name="Eileen Fleming Suse" userId="S::efs3844@ads.northwestern.edu::725c94ef-d051-42d7-9d33-8572765d592b" providerId="AD" clId="Web-{8024C570-7E9A-022B-CE90-C0FD861720C1}" dt="2023-10-23T22:39:53.359" v="70" actId="1076"/>
          <ac:spMkLst>
            <pc:docMk/>
            <pc:sldMk cId="1522616096" sldId="555"/>
            <ac:spMk id="6" creationId="{055E55DF-27B4-B9A8-84BB-DC4C1522901C}"/>
          </ac:spMkLst>
        </pc:spChg>
        <pc:spChg chg="mod">
          <ac:chgData name="Eileen Fleming Suse" userId="S::efs3844@ads.northwestern.edu::725c94ef-d051-42d7-9d33-8572765d592b" providerId="AD" clId="Web-{8024C570-7E9A-022B-CE90-C0FD861720C1}" dt="2023-10-23T22:39:53.296" v="64" actId="1076"/>
          <ac:spMkLst>
            <pc:docMk/>
            <pc:sldMk cId="1522616096" sldId="555"/>
            <ac:spMk id="7" creationId="{98AEAD99-3E06-8D3F-3F0C-CDC9176523B6}"/>
          </ac:spMkLst>
        </pc:spChg>
        <pc:spChg chg="add mod">
          <ac:chgData name="Eileen Fleming Suse" userId="S::efs3844@ads.northwestern.edu::725c94ef-d051-42d7-9d33-8572765d592b" providerId="AD" clId="Web-{8024C570-7E9A-022B-CE90-C0FD861720C1}" dt="2023-10-23T22:41:47.846" v="152" actId="14100"/>
          <ac:spMkLst>
            <pc:docMk/>
            <pc:sldMk cId="1522616096" sldId="555"/>
            <ac:spMk id="8" creationId="{6E760B7B-BD6C-24E2-33A9-EF4A040B086A}"/>
          </ac:spMkLst>
        </pc:spChg>
        <pc:spChg chg="mod">
          <ac:chgData name="Eileen Fleming Suse" userId="S::efs3844@ads.northwestern.edu::725c94ef-d051-42d7-9d33-8572765d592b" providerId="AD" clId="Web-{8024C570-7E9A-022B-CE90-C0FD861720C1}" dt="2023-10-23T22:39:53.312" v="65" actId="1076"/>
          <ac:spMkLst>
            <pc:docMk/>
            <pc:sldMk cId="1522616096" sldId="555"/>
            <ac:spMk id="9" creationId="{6DCB2364-A5B2-FB37-162C-58D7616BFAA3}"/>
          </ac:spMkLst>
        </pc:spChg>
        <pc:spChg chg="mod">
          <ac:chgData name="Eileen Fleming Suse" userId="S::efs3844@ads.northwestern.edu::725c94ef-d051-42d7-9d33-8572765d592b" providerId="AD" clId="Web-{8024C570-7E9A-022B-CE90-C0FD861720C1}" dt="2023-10-23T22:39:53.312" v="66" actId="1076"/>
          <ac:spMkLst>
            <pc:docMk/>
            <pc:sldMk cId="1522616096" sldId="555"/>
            <ac:spMk id="11" creationId="{33B71E7D-B0CF-32BF-4481-78C694C53404}"/>
          </ac:spMkLst>
        </pc:spChg>
        <pc:spChg chg="mod">
          <ac:chgData name="Eileen Fleming Suse" userId="S::efs3844@ads.northwestern.edu::725c94ef-d051-42d7-9d33-8572765d592b" providerId="AD" clId="Web-{8024C570-7E9A-022B-CE90-C0FD861720C1}" dt="2023-10-23T22:39:53.328" v="67" actId="1076"/>
          <ac:spMkLst>
            <pc:docMk/>
            <pc:sldMk cId="1522616096" sldId="555"/>
            <ac:spMk id="13" creationId="{50A7250D-02AB-B054-06E1-32E9F8FC55C0}"/>
          </ac:spMkLst>
        </pc:spChg>
        <pc:spChg chg="mod">
          <ac:chgData name="Eileen Fleming Suse" userId="S::efs3844@ads.northwestern.edu::725c94ef-d051-42d7-9d33-8572765d592b" providerId="AD" clId="Web-{8024C570-7E9A-022B-CE90-C0FD861720C1}" dt="2023-10-23T22:39:53.343" v="68" actId="1076"/>
          <ac:spMkLst>
            <pc:docMk/>
            <pc:sldMk cId="1522616096" sldId="555"/>
            <ac:spMk id="15" creationId="{63237A5A-8FBE-2248-7DAF-97A8D25F57D1}"/>
          </ac:spMkLst>
        </pc:spChg>
        <pc:spChg chg="mod">
          <ac:chgData name="Eileen Fleming Suse" userId="S::efs3844@ads.northwestern.edu::725c94ef-d051-42d7-9d33-8572765d592b" providerId="AD" clId="Web-{8024C570-7E9A-022B-CE90-C0FD861720C1}" dt="2023-10-23T22:39:53.343" v="69" actId="1076"/>
          <ac:spMkLst>
            <pc:docMk/>
            <pc:sldMk cId="1522616096" sldId="555"/>
            <ac:spMk id="17" creationId="{9694707D-377A-FF99-AFDB-26A575A618C3}"/>
          </ac:spMkLst>
        </pc:spChg>
      </pc:sldChg>
      <pc:sldChg chg="delSp modSp add replId">
        <pc:chgData name="Eileen Fleming Suse" userId="S::efs3844@ads.northwestern.edu::725c94ef-d051-42d7-9d33-8572765d592b" providerId="AD" clId="Web-{8024C570-7E9A-022B-CE90-C0FD861720C1}" dt="2023-10-23T22:53:11.409" v="475" actId="1076"/>
        <pc:sldMkLst>
          <pc:docMk/>
          <pc:sldMk cId="773696652" sldId="558"/>
        </pc:sldMkLst>
        <pc:spChg chg="mod">
          <ac:chgData name="Eileen Fleming Suse" userId="S::efs3844@ads.northwestern.edu::725c94ef-d051-42d7-9d33-8572765d592b" providerId="AD" clId="Web-{8024C570-7E9A-022B-CE90-C0FD861720C1}" dt="2023-10-23T22:53:09.534" v="474" actId="1076"/>
          <ac:spMkLst>
            <pc:docMk/>
            <pc:sldMk cId="773696652" sldId="558"/>
            <ac:spMk id="3" creationId="{1C814D25-66C5-ACFC-3102-DB1C47E8E790}"/>
          </ac:spMkLst>
        </pc:spChg>
        <pc:spChg chg="del">
          <ac:chgData name="Eileen Fleming Suse" userId="S::efs3844@ads.northwestern.edu::725c94ef-d051-42d7-9d33-8572765d592b" providerId="AD" clId="Web-{8024C570-7E9A-022B-CE90-C0FD861720C1}" dt="2023-10-23T22:44:50.569" v="171"/>
          <ac:spMkLst>
            <pc:docMk/>
            <pc:sldMk cId="773696652" sldId="558"/>
            <ac:spMk id="4" creationId="{3D49CA6C-78ED-3124-7EE3-BBDDC9988910}"/>
          </ac:spMkLst>
        </pc:spChg>
        <pc:spChg chg="mod">
          <ac:chgData name="Eileen Fleming Suse" userId="S::efs3844@ads.northwestern.edu::725c94ef-d051-42d7-9d33-8572765d592b" providerId="AD" clId="Web-{8024C570-7E9A-022B-CE90-C0FD861720C1}" dt="2023-10-23T22:53:11.409" v="475" actId="1076"/>
          <ac:spMkLst>
            <pc:docMk/>
            <pc:sldMk cId="773696652" sldId="558"/>
            <ac:spMk id="5" creationId="{19C1D751-08DD-BD76-1181-C434C9849C27}"/>
          </ac:spMkLst>
        </pc:spChg>
        <pc:spChg chg="mod">
          <ac:chgData name="Eileen Fleming Suse" userId="S::efs3844@ads.northwestern.edu::725c94ef-d051-42d7-9d33-8572765d592b" providerId="AD" clId="Web-{8024C570-7E9A-022B-CE90-C0FD861720C1}" dt="2023-10-23T22:46:54.150" v="251" actId="1076"/>
          <ac:spMkLst>
            <pc:docMk/>
            <pc:sldMk cId="773696652" sldId="558"/>
            <ac:spMk id="6" creationId="{055E55DF-27B4-B9A8-84BB-DC4C1522901C}"/>
          </ac:spMkLst>
        </pc:spChg>
        <pc:spChg chg="mod">
          <ac:chgData name="Eileen Fleming Suse" userId="S::efs3844@ads.northwestern.edu::725c94ef-d051-42d7-9d33-8572765d592b" providerId="AD" clId="Web-{8024C570-7E9A-022B-CE90-C0FD861720C1}" dt="2023-10-23T22:46:54.119" v="245" actId="1076"/>
          <ac:spMkLst>
            <pc:docMk/>
            <pc:sldMk cId="773696652" sldId="558"/>
            <ac:spMk id="7" creationId="{98AEAD99-3E06-8D3F-3F0C-CDC9176523B6}"/>
          </ac:spMkLst>
        </pc:spChg>
        <pc:spChg chg="del">
          <ac:chgData name="Eileen Fleming Suse" userId="S::efs3844@ads.northwestern.edu::725c94ef-d051-42d7-9d33-8572765d592b" providerId="AD" clId="Web-{8024C570-7E9A-022B-CE90-C0FD861720C1}" dt="2023-10-23T22:44:48.491" v="170"/>
          <ac:spMkLst>
            <pc:docMk/>
            <pc:sldMk cId="773696652" sldId="558"/>
            <ac:spMk id="8" creationId="{6E760B7B-BD6C-24E2-33A9-EF4A040B086A}"/>
          </ac:spMkLst>
        </pc:spChg>
        <pc:spChg chg="mod">
          <ac:chgData name="Eileen Fleming Suse" userId="S::efs3844@ads.northwestern.edu::725c94ef-d051-42d7-9d33-8572765d592b" providerId="AD" clId="Web-{8024C570-7E9A-022B-CE90-C0FD861720C1}" dt="2023-10-23T22:46:54.119" v="246" actId="1076"/>
          <ac:spMkLst>
            <pc:docMk/>
            <pc:sldMk cId="773696652" sldId="558"/>
            <ac:spMk id="9" creationId="{6DCB2364-A5B2-FB37-162C-58D7616BFAA3}"/>
          </ac:spMkLst>
        </pc:spChg>
        <pc:spChg chg="mod">
          <ac:chgData name="Eileen Fleming Suse" userId="S::efs3844@ads.northwestern.edu::725c94ef-d051-42d7-9d33-8572765d592b" providerId="AD" clId="Web-{8024C570-7E9A-022B-CE90-C0FD861720C1}" dt="2023-10-23T22:46:54.119" v="247" actId="1076"/>
          <ac:spMkLst>
            <pc:docMk/>
            <pc:sldMk cId="773696652" sldId="558"/>
            <ac:spMk id="11" creationId="{33B71E7D-B0CF-32BF-4481-78C694C53404}"/>
          </ac:spMkLst>
        </pc:spChg>
        <pc:spChg chg="mod">
          <ac:chgData name="Eileen Fleming Suse" userId="S::efs3844@ads.northwestern.edu::725c94ef-d051-42d7-9d33-8572765d592b" providerId="AD" clId="Web-{8024C570-7E9A-022B-CE90-C0FD861720C1}" dt="2023-10-23T22:46:54.134" v="248" actId="1076"/>
          <ac:spMkLst>
            <pc:docMk/>
            <pc:sldMk cId="773696652" sldId="558"/>
            <ac:spMk id="13" creationId="{50A7250D-02AB-B054-06E1-32E9F8FC55C0}"/>
          </ac:spMkLst>
        </pc:spChg>
        <pc:spChg chg="mod">
          <ac:chgData name="Eileen Fleming Suse" userId="S::efs3844@ads.northwestern.edu::725c94ef-d051-42d7-9d33-8572765d592b" providerId="AD" clId="Web-{8024C570-7E9A-022B-CE90-C0FD861720C1}" dt="2023-10-23T22:46:54.134" v="249" actId="1076"/>
          <ac:spMkLst>
            <pc:docMk/>
            <pc:sldMk cId="773696652" sldId="558"/>
            <ac:spMk id="15" creationId="{63237A5A-8FBE-2248-7DAF-97A8D25F57D1}"/>
          </ac:spMkLst>
        </pc:spChg>
        <pc:spChg chg="mod">
          <ac:chgData name="Eileen Fleming Suse" userId="S::efs3844@ads.northwestern.edu::725c94ef-d051-42d7-9d33-8572765d592b" providerId="AD" clId="Web-{8024C570-7E9A-022B-CE90-C0FD861720C1}" dt="2023-10-23T22:46:54.150" v="250" actId="1076"/>
          <ac:spMkLst>
            <pc:docMk/>
            <pc:sldMk cId="773696652" sldId="558"/>
            <ac:spMk id="17" creationId="{9694707D-377A-FF99-AFDB-26A575A618C3}"/>
          </ac:spMkLst>
        </pc:spChg>
      </pc:sldChg>
      <pc:sldChg chg="addSp delSp modSp new mod setBg">
        <pc:chgData name="Eileen Fleming Suse" userId="S::efs3844@ads.northwestern.edu::725c94ef-d051-42d7-9d33-8572765d592b" providerId="AD" clId="Web-{8024C570-7E9A-022B-CE90-C0FD861720C1}" dt="2023-10-23T23:03:50.878" v="517"/>
        <pc:sldMkLst>
          <pc:docMk/>
          <pc:sldMk cId="202185053" sldId="559"/>
        </pc:sldMkLst>
        <pc:spChg chg="mod">
          <ac:chgData name="Eileen Fleming Suse" userId="S::efs3844@ads.northwestern.edu::725c94ef-d051-42d7-9d33-8572765d592b" providerId="AD" clId="Web-{8024C570-7E9A-022B-CE90-C0FD861720C1}" dt="2023-10-23T23:03:50.878" v="517"/>
          <ac:spMkLst>
            <pc:docMk/>
            <pc:sldMk cId="202185053" sldId="559"/>
            <ac:spMk id="2" creationId="{4DA6F726-268B-D1E3-168E-B1D635F770C9}"/>
          </ac:spMkLst>
        </pc:spChg>
        <pc:spChg chg="del mod">
          <ac:chgData name="Eileen Fleming Suse" userId="S::efs3844@ads.northwestern.edu::725c94ef-d051-42d7-9d33-8572765d592b" providerId="AD" clId="Web-{8024C570-7E9A-022B-CE90-C0FD861720C1}" dt="2023-10-23T23:03:50.878" v="517"/>
          <ac:spMkLst>
            <pc:docMk/>
            <pc:sldMk cId="202185053" sldId="559"/>
            <ac:spMk id="3" creationId="{97C35C3F-414A-0BEC-2B1F-CEADE5601055}"/>
          </ac:spMkLst>
        </pc:spChg>
        <pc:spChg chg="add">
          <ac:chgData name="Eileen Fleming Suse" userId="S::efs3844@ads.northwestern.edu::725c94ef-d051-42d7-9d33-8572765d592b" providerId="AD" clId="Web-{8024C570-7E9A-022B-CE90-C0FD861720C1}" dt="2023-10-23T23:03:50.878" v="517"/>
          <ac:spMkLst>
            <pc:docMk/>
            <pc:sldMk cId="202185053" sldId="559"/>
            <ac:spMk id="9" creationId="{35DB3719-6FDC-4E5D-891D-FF40B7300F64}"/>
          </ac:spMkLst>
        </pc:spChg>
        <pc:spChg chg="add">
          <ac:chgData name="Eileen Fleming Suse" userId="S::efs3844@ads.northwestern.edu::725c94ef-d051-42d7-9d33-8572765d592b" providerId="AD" clId="Web-{8024C570-7E9A-022B-CE90-C0FD861720C1}" dt="2023-10-23T23:03:50.878" v="517"/>
          <ac:spMkLst>
            <pc:docMk/>
            <pc:sldMk cId="202185053" sldId="559"/>
            <ac:spMk id="11" creationId="{E0CBAC23-2E3F-4A90-BA59-F8299F6A5439}"/>
          </ac:spMkLst>
        </pc:spChg>
        <pc:graphicFrameChg chg="add">
          <ac:chgData name="Eileen Fleming Suse" userId="S::efs3844@ads.northwestern.edu::725c94ef-d051-42d7-9d33-8572765d592b" providerId="AD" clId="Web-{8024C570-7E9A-022B-CE90-C0FD861720C1}" dt="2023-10-23T23:03:50.878" v="517"/>
          <ac:graphicFrameMkLst>
            <pc:docMk/>
            <pc:sldMk cId="202185053" sldId="559"/>
            <ac:graphicFrameMk id="5" creationId="{6E278A11-E295-101C-28FB-746B039E4D18}"/>
          </ac:graphicFrameMkLst>
        </pc:graphicFrameChg>
      </pc:sldChg>
    </pc:docChg>
  </pc:docChgLst>
  <pc:docChgLst>
    <pc:chgData name="Eileen Fleming Suse" userId="S::efs3844@ads.northwestern.edu::725c94ef-d051-42d7-9d33-8572765d592b" providerId="AD" clId="Web-{85CD7F39-8F26-7081-E17F-9CFE5E103D63}"/>
    <pc:docChg chg="addSld delSld modSld sldOrd">
      <pc:chgData name="Eileen Fleming Suse" userId="S::efs3844@ads.northwestern.edu::725c94ef-d051-42d7-9d33-8572765d592b" providerId="AD" clId="Web-{85CD7F39-8F26-7081-E17F-9CFE5E103D63}" dt="2023-10-24T19:03:39.508" v="173" actId="20577"/>
      <pc:docMkLst>
        <pc:docMk/>
      </pc:docMkLst>
      <pc:sldChg chg="del">
        <pc:chgData name="Eileen Fleming Suse" userId="S::efs3844@ads.northwestern.edu::725c94ef-d051-42d7-9d33-8572765d592b" providerId="AD" clId="Web-{85CD7F39-8F26-7081-E17F-9CFE5E103D63}" dt="2023-10-24T18:21:45.536" v="0"/>
        <pc:sldMkLst>
          <pc:docMk/>
          <pc:sldMk cId="2338849283" sldId="290"/>
        </pc:sldMkLst>
      </pc:sldChg>
      <pc:sldChg chg="ord">
        <pc:chgData name="Eileen Fleming Suse" userId="S::efs3844@ads.northwestern.edu::725c94ef-d051-42d7-9d33-8572765d592b" providerId="AD" clId="Web-{85CD7F39-8F26-7081-E17F-9CFE5E103D63}" dt="2023-10-24T18:27:42.969" v="88"/>
        <pc:sldMkLst>
          <pc:docMk/>
          <pc:sldMk cId="2351229145" sldId="544"/>
        </pc:sldMkLst>
      </pc:sldChg>
      <pc:sldChg chg="modSp">
        <pc:chgData name="Eileen Fleming Suse" userId="S::efs3844@ads.northwestern.edu::725c94ef-d051-42d7-9d33-8572765d592b" providerId="AD" clId="Web-{85CD7F39-8F26-7081-E17F-9CFE5E103D63}" dt="2023-10-24T18:41:13.402" v="102" actId="20577"/>
        <pc:sldMkLst>
          <pc:docMk/>
          <pc:sldMk cId="3745706804" sldId="548"/>
        </pc:sldMkLst>
        <pc:spChg chg="mod">
          <ac:chgData name="Eileen Fleming Suse" userId="S::efs3844@ads.northwestern.edu::725c94ef-d051-42d7-9d33-8572765d592b" providerId="AD" clId="Web-{85CD7F39-8F26-7081-E17F-9CFE5E103D63}" dt="2023-10-24T18:41:13.402" v="102" actId="20577"/>
          <ac:spMkLst>
            <pc:docMk/>
            <pc:sldMk cId="3745706804" sldId="548"/>
            <ac:spMk id="3" creationId="{C0454086-94BF-0693-766D-F1659194519A}"/>
          </ac:spMkLst>
        </pc:spChg>
      </pc:sldChg>
      <pc:sldChg chg="modSp">
        <pc:chgData name="Eileen Fleming Suse" userId="S::efs3844@ads.northwestern.edu::725c94ef-d051-42d7-9d33-8572765d592b" providerId="AD" clId="Web-{85CD7F39-8F26-7081-E17F-9CFE5E103D63}" dt="2023-10-24T18:49:16.746" v="155" actId="20577"/>
        <pc:sldMkLst>
          <pc:docMk/>
          <pc:sldMk cId="3962270618" sldId="549"/>
        </pc:sldMkLst>
        <pc:spChg chg="mod">
          <ac:chgData name="Eileen Fleming Suse" userId="S::efs3844@ads.northwestern.edu::725c94ef-d051-42d7-9d33-8572765d592b" providerId="AD" clId="Web-{85CD7F39-8F26-7081-E17F-9CFE5E103D63}" dt="2023-10-24T18:49:16.746" v="155" actId="20577"/>
          <ac:spMkLst>
            <pc:docMk/>
            <pc:sldMk cId="3962270618" sldId="549"/>
            <ac:spMk id="2" creationId="{D2A51686-B2DC-CDBE-63AE-C97B6B0DBD66}"/>
          </ac:spMkLst>
        </pc:spChg>
      </pc:sldChg>
      <pc:sldChg chg="modNotes">
        <pc:chgData name="Eileen Fleming Suse" userId="S::efs3844@ads.northwestern.edu::725c94ef-d051-42d7-9d33-8572765d592b" providerId="AD" clId="Web-{85CD7F39-8F26-7081-E17F-9CFE5E103D63}" dt="2023-10-24T18:49:47.856" v="156"/>
        <pc:sldMkLst>
          <pc:docMk/>
          <pc:sldMk cId="2562283095" sldId="551"/>
        </pc:sldMkLst>
      </pc:sldChg>
      <pc:sldChg chg="modSp">
        <pc:chgData name="Eileen Fleming Suse" userId="S::efs3844@ads.northwestern.edu::725c94ef-d051-42d7-9d33-8572765d592b" providerId="AD" clId="Web-{85CD7F39-8F26-7081-E17F-9CFE5E103D63}" dt="2023-10-24T18:22:25.365" v="2" actId="20577"/>
        <pc:sldMkLst>
          <pc:docMk/>
          <pc:sldMk cId="1522616096" sldId="555"/>
        </pc:sldMkLst>
        <pc:spChg chg="mod">
          <ac:chgData name="Eileen Fleming Suse" userId="S::efs3844@ads.northwestern.edu::725c94ef-d051-42d7-9d33-8572765d592b" providerId="AD" clId="Web-{85CD7F39-8F26-7081-E17F-9CFE5E103D63}" dt="2023-10-24T18:22:25.365" v="2" actId="20577"/>
          <ac:spMkLst>
            <pc:docMk/>
            <pc:sldMk cId="1522616096" sldId="555"/>
            <ac:spMk id="13" creationId="{50A7250D-02AB-B054-06E1-32E9F8FC55C0}"/>
          </ac:spMkLst>
        </pc:spChg>
      </pc:sldChg>
      <pc:sldChg chg="modSp ord">
        <pc:chgData name="Eileen Fleming Suse" userId="S::efs3844@ads.northwestern.edu::725c94ef-d051-42d7-9d33-8572765d592b" providerId="AD" clId="Web-{85CD7F39-8F26-7081-E17F-9CFE5E103D63}" dt="2023-10-24T18:23:33.867" v="6" actId="20577"/>
        <pc:sldMkLst>
          <pc:docMk/>
          <pc:sldMk cId="773696652" sldId="558"/>
        </pc:sldMkLst>
        <pc:spChg chg="mod">
          <ac:chgData name="Eileen Fleming Suse" userId="S::efs3844@ads.northwestern.edu::725c94ef-d051-42d7-9d33-8572765d592b" providerId="AD" clId="Web-{85CD7F39-8F26-7081-E17F-9CFE5E103D63}" dt="2023-10-24T18:23:33.867" v="6" actId="20577"/>
          <ac:spMkLst>
            <pc:docMk/>
            <pc:sldMk cId="773696652" sldId="558"/>
            <ac:spMk id="13" creationId="{50A7250D-02AB-B054-06E1-32E9F8FC55C0}"/>
          </ac:spMkLst>
        </pc:spChg>
      </pc:sldChg>
      <pc:sldChg chg="modSp">
        <pc:chgData name="Eileen Fleming Suse" userId="S::efs3844@ads.northwestern.edu::725c94ef-d051-42d7-9d33-8572765d592b" providerId="AD" clId="Web-{85CD7F39-8F26-7081-E17F-9CFE5E103D63}" dt="2023-10-24T19:03:39.508" v="173" actId="20577"/>
        <pc:sldMkLst>
          <pc:docMk/>
          <pc:sldMk cId="3067427377" sldId="560"/>
        </pc:sldMkLst>
        <pc:spChg chg="mod">
          <ac:chgData name="Eileen Fleming Suse" userId="S::efs3844@ads.northwestern.edu::725c94ef-d051-42d7-9d33-8572765d592b" providerId="AD" clId="Web-{85CD7F39-8F26-7081-E17F-9CFE5E103D63}" dt="2023-10-24T19:03:39.508" v="173" actId="20577"/>
          <ac:spMkLst>
            <pc:docMk/>
            <pc:sldMk cId="3067427377" sldId="560"/>
            <ac:spMk id="2" creationId="{85302686-DF06-3304-66CB-1E21F4D086DC}"/>
          </ac:spMkLst>
        </pc:spChg>
      </pc:sldChg>
      <pc:sldChg chg="ord">
        <pc:chgData name="Eileen Fleming Suse" userId="S::efs3844@ads.northwestern.edu::725c94ef-d051-42d7-9d33-8572765d592b" providerId="AD" clId="Web-{85CD7F39-8F26-7081-E17F-9CFE5E103D63}" dt="2023-10-24T19:02:03.568" v="160"/>
        <pc:sldMkLst>
          <pc:docMk/>
          <pc:sldMk cId="1536434647" sldId="564"/>
        </pc:sldMkLst>
      </pc:sldChg>
      <pc:sldChg chg="del">
        <pc:chgData name="Eileen Fleming Suse" userId="S::efs3844@ads.northwestern.edu::725c94ef-d051-42d7-9d33-8572765d592b" providerId="AD" clId="Web-{85CD7F39-8F26-7081-E17F-9CFE5E103D63}" dt="2023-10-24T18:31:12.851" v="91"/>
        <pc:sldMkLst>
          <pc:docMk/>
          <pc:sldMk cId="1415571005" sldId="572"/>
        </pc:sldMkLst>
      </pc:sldChg>
      <pc:sldChg chg="del">
        <pc:chgData name="Eileen Fleming Suse" userId="S::efs3844@ads.northwestern.edu::725c94ef-d051-42d7-9d33-8572765d592b" providerId="AD" clId="Web-{85CD7F39-8F26-7081-E17F-9CFE5E103D63}" dt="2023-10-24T18:31:16.023" v="92"/>
        <pc:sldMkLst>
          <pc:docMk/>
          <pc:sldMk cId="2901982042" sldId="573"/>
        </pc:sldMkLst>
      </pc:sldChg>
      <pc:sldChg chg="modNotes">
        <pc:chgData name="Eileen Fleming Suse" userId="S::efs3844@ads.northwestern.edu::725c94ef-d051-42d7-9d33-8572765d592b" providerId="AD" clId="Web-{85CD7F39-8F26-7081-E17F-9CFE5E103D63}" dt="2023-10-24T18:28:21.080" v="90"/>
        <pc:sldMkLst>
          <pc:docMk/>
          <pc:sldMk cId="1407824229" sldId="576"/>
        </pc:sldMkLst>
      </pc:sldChg>
      <pc:sldChg chg="modSp new mod modClrScheme chgLayout modNotes">
        <pc:chgData name="Eileen Fleming Suse" userId="S::efs3844@ads.northwestern.edu::725c94ef-d051-42d7-9d33-8572765d592b" providerId="AD" clId="Web-{85CD7F39-8F26-7081-E17F-9CFE5E103D63}" dt="2023-10-24T19:00:23.346" v="159"/>
        <pc:sldMkLst>
          <pc:docMk/>
          <pc:sldMk cId="4290994232" sldId="578"/>
        </pc:sldMkLst>
        <pc:spChg chg="mod ord">
          <ac:chgData name="Eileen Fleming Suse" userId="S::efs3844@ads.northwestern.edu::725c94ef-d051-42d7-9d33-8572765d592b" providerId="AD" clId="Web-{85CD7F39-8F26-7081-E17F-9CFE5E103D63}" dt="2023-10-24T18:26:58.624" v="67"/>
          <ac:spMkLst>
            <pc:docMk/>
            <pc:sldMk cId="4290994232" sldId="578"/>
            <ac:spMk id="2" creationId="{3089D313-1FE9-8E3B-E1C1-8D63F9537E7C}"/>
          </ac:spMkLst>
        </pc:spChg>
        <pc:spChg chg="mod ord">
          <ac:chgData name="Eileen Fleming Suse" userId="S::efs3844@ads.northwestern.edu::725c94ef-d051-42d7-9d33-8572765d592b" providerId="AD" clId="Web-{85CD7F39-8F26-7081-E17F-9CFE5E103D63}" dt="2023-10-24T18:26:58.624" v="67"/>
          <ac:spMkLst>
            <pc:docMk/>
            <pc:sldMk cId="4290994232" sldId="578"/>
            <ac:spMk id="3" creationId="{CFAA9E52-251F-FEC4-DD99-459D2CFCC90C}"/>
          </ac:spMkLst>
        </pc:spChg>
      </pc:sldChg>
    </pc:docChg>
  </pc:docChgLst>
  <pc:docChgLst>
    <pc:chgData name="Alana Rivera" userId="S::arg3669@ads.northwestern.edu::fc8b707a-b7e9-4f2a-8d71-2d76819b7881" providerId="AD" clId="Web-{6E7D2AD5-DB8B-40D0-4266-03B609A243B6}"/>
    <pc:docChg chg="modSld">
      <pc:chgData name="Alana Rivera" userId="S::arg3669@ads.northwestern.edu::fc8b707a-b7e9-4f2a-8d71-2d76819b7881" providerId="AD" clId="Web-{6E7D2AD5-DB8B-40D0-4266-03B609A243B6}" dt="2024-01-09T16:18:29.383" v="12"/>
      <pc:docMkLst>
        <pc:docMk/>
      </pc:docMkLst>
      <pc:sldChg chg="delSp">
        <pc:chgData name="Alana Rivera" userId="S::arg3669@ads.northwestern.edu::fc8b707a-b7e9-4f2a-8d71-2d76819b7881" providerId="AD" clId="Web-{6E7D2AD5-DB8B-40D0-4266-03B609A243B6}" dt="2024-01-09T16:18:29.383" v="12"/>
        <pc:sldMkLst>
          <pc:docMk/>
          <pc:sldMk cId="3462412353" sldId="773"/>
        </pc:sldMkLst>
        <pc:spChg chg="del">
          <ac:chgData name="Alana Rivera" userId="S::arg3669@ads.northwestern.edu::fc8b707a-b7e9-4f2a-8d71-2d76819b7881" providerId="AD" clId="Web-{6E7D2AD5-DB8B-40D0-4266-03B609A243B6}" dt="2024-01-09T16:18:29.383" v="12"/>
          <ac:spMkLst>
            <pc:docMk/>
            <pc:sldMk cId="3462412353" sldId="773"/>
            <ac:spMk id="4" creationId="{AA4D8A5E-2359-C72F-DA7C-841511992AE7}"/>
          </ac:spMkLst>
        </pc:spChg>
      </pc:sldChg>
      <pc:sldChg chg="addSp modSp">
        <pc:chgData name="Alana Rivera" userId="S::arg3669@ads.northwestern.edu::fc8b707a-b7e9-4f2a-8d71-2d76819b7881" providerId="AD" clId="Web-{6E7D2AD5-DB8B-40D0-4266-03B609A243B6}" dt="2024-01-09T16:16:49.521" v="11"/>
        <pc:sldMkLst>
          <pc:docMk/>
          <pc:sldMk cId="2951495738" sldId="775"/>
        </pc:sldMkLst>
        <pc:picChg chg="add mod">
          <ac:chgData name="Alana Rivera" userId="S::arg3669@ads.northwestern.edu::fc8b707a-b7e9-4f2a-8d71-2d76819b7881" providerId="AD" clId="Web-{6E7D2AD5-DB8B-40D0-4266-03B609A243B6}" dt="2024-01-09T16:16:41.146" v="10"/>
          <ac:picMkLst>
            <pc:docMk/>
            <pc:sldMk cId="2951495738" sldId="775"/>
            <ac:picMk id="3" creationId="{76384EC7-5EF9-FEC7-968A-891DB6207416}"/>
          </ac:picMkLst>
        </pc:picChg>
        <pc:picChg chg="add mod">
          <ac:chgData name="Alana Rivera" userId="S::arg3669@ads.northwestern.edu::fc8b707a-b7e9-4f2a-8d71-2d76819b7881" providerId="AD" clId="Web-{6E7D2AD5-DB8B-40D0-4266-03B609A243B6}" dt="2024-01-09T16:16:49.521" v="11"/>
          <ac:picMkLst>
            <pc:docMk/>
            <pc:sldMk cId="2951495738" sldId="775"/>
            <ac:picMk id="6" creationId="{9642BB8D-9271-B591-762C-B1572E7BB26C}"/>
          </ac:picMkLst>
        </pc:picChg>
      </pc:sldChg>
      <pc:sldChg chg="modSp">
        <pc:chgData name="Alana Rivera" userId="S::arg3669@ads.northwestern.edu::fc8b707a-b7e9-4f2a-8d71-2d76819b7881" providerId="AD" clId="Web-{6E7D2AD5-DB8B-40D0-4266-03B609A243B6}" dt="2024-01-09T16:15:06.472" v="3" actId="20577"/>
        <pc:sldMkLst>
          <pc:docMk/>
          <pc:sldMk cId="3952621467" sldId="779"/>
        </pc:sldMkLst>
        <pc:spChg chg="mod">
          <ac:chgData name="Alana Rivera" userId="S::arg3669@ads.northwestern.edu::fc8b707a-b7e9-4f2a-8d71-2d76819b7881" providerId="AD" clId="Web-{6E7D2AD5-DB8B-40D0-4266-03B609A243B6}" dt="2024-01-09T16:15:06.472" v="3" actId="20577"/>
          <ac:spMkLst>
            <pc:docMk/>
            <pc:sldMk cId="3952621467" sldId="779"/>
            <ac:spMk id="7" creationId="{5BDCD7E9-0895-8935-4DB8-19819607476B}"/>
          </ac:spMkLst>
        </pc:spChg>
      </pc:sldChg>
    </pc:docChg>
  </pc:docChgLst>
  <pc:docChgLst>
    <pc:chgData name="Eileen Fleming Suse" userId="S::efs3844@ads.northwestern.edu::725c94ef-d051-42d7-9d33-8572765d592b" providerId="AD" clId="Web-{D053432C-5284-0617-FAB1-59D94F6E44F4}"/>
    <pc:docChg chg="addSld delSld modSld sldOrd">
      <pc:chgData name="Eileen Fleming Suse" userId="S::efs3844@ads.northwestern.edu::725c94ef-d051-42d7-9d33-8572765d592b" providerId="AD" clId="Web-{D053432C-5284-0617-FAB1-59D94F6E44F4}" dt="2024-01-11T22:27:54.210" v="1839" actId="20577"/>
      <pc:docMkLst>
        <pc:docMk/>
      </pc:docMkLst>
      <pc:sldChg chg="modSp">
        <pc:chgData name="Eileen Fleming Suse" userId="S::efs3844@ads.northwestern.edu::725c94ef-d051-42d7-9d33-8572765d592b" providerId="AD" clId="Web-{D053432C-5284-0617-FAB1-59D94F6E44F4}" dt="2024-01-08T21:29:20.021" v="145" actId="20577"/>
        <pc:sldMkLst>
          <pc:docMk/>
          <pc:sldMk cId="4044691067" sldId="283"/>
        </pc:sldMkLst>
        <pc:spChg chg="mod">
          <ac:chgData name="Eileen Fleming Suse" userId="S::efs3844@ads.northwestern.edu::725c94ef-d051-42d7-9d33-8572765d592b" providerId="AD" clId="Web-{D053432C-5284-0617-FAB1-59D94F6E44F4}" dt="2024-01-08T21:29:20.021" v="145"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D053432C-5284-0617-FAB1-59D94F6E44F4}" dt="2024-01-08T21:29:40.631" v="147"/>
        <pc:sldMkLst>
          <pc:docMk/>
          <pc:sldMk cId="2167430157" sldId="764"/>
        </pc:sldMkLst>
      </pc:sldChg>
      <pc:sldChg chg="modSp ord modNotes">
        <pc:chgData name="Eileen Fleming Suse" userId="S::efs3844@ads.northwestern.edu::725c94ef-d051-42d7-9d33-8572765d592b" providerId="AD" clId="Web-{D053432C-5284-0617-FAB1-59D94F6E44F4}" dt="2024-01-10T00:29:49.315" v="1685"/>
        <pc:sldMkLst>
          <pc:docMk/>
          <pc:sldMk cId="2730238647" sldId="766"/>
        </pc:sldMkLst>
        <pc:graphicFrameChg chg="mod modGraphic">
          <ac:chgData name="Eileen Fleming Suse" userId="S::efs3844@ads.northwestern.edu::725c94ef-d051-42d7-9d33-8572765d592b" providerId="AD" clId="Web-{D053432C-5284-0617-FAB1-59D94F6E44F4}" dt="2024-01-09T19:28:06.771" v="778" actId="1076"/>
          <ac:graphicFrameMkLst>
            <pc:docMk/>
            <pc:sldMk cId="2730238647" sldId="766"/>
            <ac:graphicFrameMk id="7" creationId="{00000000-0000-0000-0000-000000000000}"/>
          </ac:graphicFrameMkLst>
        </pc:graphicFrameChg>
      </pc:sldChg>
      <pc:sldChg chg="modNotes">
        <pc:chgData name="Eileen Fleming Suse" userId="S::efs3844@ads.northwestern.edu::725c94ef-d051-42d7-9d33-8572765d592b" providerId="AD" clId="Web-{D053432C-5284-0617-FAB1-59D94F6E44F4}" dt="2024-01-09T19:31:43.057" v="854"/>
        <pc:sldMkLst>
          <pc:docMk/>
          <pc:sldMk cId="1177085520" sldId="767"/>
        </pc:sldMkLst>
      </pc:sldChg>
      <pc:sldChg chg="modSp">
        <pc:chgData name="Eileen Fleming Suse" userId="S::efs3844@ads.northwestern.edu::725c94ef-d051-42d7-9d33-8572765d592b" providerId="AD" clId="Web-{D053432C-5284-0617-FAB1-59D94F6E44F4}" dt="2024-01-11T14:45:28.651" v="1733" actId="20577"/>
        <pc:sldMkLst>
          <pc:docMk/>
          <pc:sldMk cId="1549218491" sldId="768"/>
        </pc:sldMkLst>
        <pc:spChg chg="mod">
          <ac:chgData name="Eileen Fleming Suse" userId="S::efs3844@ads.northwestern.edu::725c94ef-d051-42d7-9d33-8572765d592b" providerId="AD" clId="Web-{D053432C-5284-0617-FAB1-59D94F6E44F4}" dt="2024-01-11T14:45:28.651" v="1733" actId="20577"/>
          <ac:spMkLst>
            <pc:docMk/>
            <pc:sldMk cId="1549218491" sldId="768"/>
            <ac:spMk id="10" creationId="{00000000-0000-0000-0000-000000000000}"/>
          </ac:spMkLst>
        </pc:spChg>
      </pc:sldChg>
      <pc:sldChg chg="modSp">
        <pc:chgData name="Eileen Fleming Suse" userId="S::efs3844@ads.northwestern.edu::725c94ef-d051-42d7-9d33-8572765d592b" providerId="AD" clId="Web-{D053432C-5284-0617-FAB1-59D94F6E44F4}" dt="2024-01-11T14:41:47.285" v="1730" actId="1076"/>
        <pc:sldMkLst>
          <pc:docMk/>
          <pc:sldMk cId="4074859317" sldId="769"/>
        </pc:sldMkLst>
        <pc:spChg chg="mod">
          <ac:chgData name="Eileen Fleming Suse" userId="S::efs3844@ads.northwestern.edu::725c94ef-d051-42d7-9d33-8572765d592b" providerId="AD" clId="Web-{D053432C-5284-0617-FAB1-59D94F6E44F4}" dt="2024-01-11T14:41:47.285" v="1730" actId="1076"/>
          <ac:spMkLst>
            <pc:docMk/>
            <pc:sldMk cId="4074859317" sldId="769"/>
            <ac:spMk id="7" creationId="{00000000-0000-0000-0000-000000000000}"/>
          </ac:spMkLst>
        </pc:spChg>
      </pc:sldChg>
      <pc:sldChg chg="modSp del">
        <pc:chgData name="Eileen Fleming Suse" userId="S::efs3844@ads.northwestern.edu::725c94ef-d051-42d7-9d33-8572765d592b" providerId="AD" clId="Web-{D053432C-5284-0617-FAB1-59D94F6E44F4}" dt="2024-01-11T22:26:51.615" v="1805"/>
        <pc:sldMkLst>
          <pc:docMk/>
          <pc:sldMk cId="3174384986" sldId="770"/>
        </pc:sldMkLst>
        <pc:spChg chg="mod">
          <ac:chgData name="Eileen Fleming Suse" userId="S::efs3844@ads.northwestern.edu::725c94ef-d051-42d7-9d33-8572765d592b" providerId="AD" clId="Web-{D053432C-5284-0617-FAB1-59D94F6E44F4}" dt="2024-01-08T21:17:09.691" v="114"/>
          <ac:spMkLst>
            <pc:docMk/>
            <pc:sldMk cId="3174384986" sldId="770"/>
            <ac:spMk id="2" creationId="{00000000-0000-0000-0000-000000000000}"/>
          </ac:spMkLst>
        </pc:spChg>
      </pc:sldChg>
      <pc:sldChg chg="modSp">
        <pc:chgData name="Eileen Fleming Suse" userId="S::efs3844@ads.northwestern.edu::725c94ef-d051-42d7-9d33-8572765d592b" providerId="AD" clId="Web-{D053432C-5284-0617-FAB1-59D94F6E44F4}" dt="2024-01-08T21:16:56.003" v="111"/>
        <pc:sldMkLst>
          <pc:docMk/>
          <pc:sldMk cId="661046635" sldId="771"/>
        </pc:sldMkLst>
        <pc:spChg chg="mod">
          <ac:chgData name="Eileen Fleming Suse" userId="S::efs3844@ads.northwestern.edu::725c94ef-d051-42d7-9d33-8572765d592b" providerId="AD" clId="Web-{D053432C-5284-0617-FAB1-59D94F6E44F4}" dt="2024-01-08T21:16:56.003" v="111"/>
          <ac:spMkLst>
            <pc:docMk/>
            <pc:sldMk cId="661046635" sldId="771"/>
            <ac:spMk id="2" creationId="{00000000-0000-0000-0000-000000000000}"/>
          </ac:spMkLst>
        </pc:spChg>
        <pc:spChg chg="mod">
          <ac:chgData name="Eileen Fleming Suse" userId="S::efs3844@ads.northwestern.edu::725c94ef-d051-42d7-9d33-8572765d592b" providerId="AD" clId="Web-{D053432C-5284-0617-FAB1-59D94F6E44F4}" dt="2024-01-08T21:16:49.940" v="110" actId="20577"/>
          <ac:spMkLst>
            <pc:docMk/>
            <pc:sldMk cId="661046635" sldId="771"/>
            <ac:spMk id="8" creationId="{00000000-0000-0000-0000-000000000000}"/>
          </ac:spMkLst>
        </pc:spChg>
      </pc:sldChg>
      <pc:sldChg chg="addSp delSp modSp">
        <pc:chgData name="Eileen Fleming Suse" userId="S::efs3844@ads.northwestern.edu::725c94ef-d051-42d7-9d33-8572765d592b" providerId="AD" clId="Web-{D053432C-5284-0617-FAB1-59D94F6E44F4}" dt="2024-01-08T21:13:08.575" v="69" actId="688"/>
        <pc:sldMkLst>
          <pc:docMk/>
          <pc:sldMk cId="1961791320" sldId="772"/>
        </pc:sldMkLst>
        <pc:spChg chg="del">
          <ac:chgData name="Eileen Fleming Suse" userId="S::efs3844@ads.northwestern.edu::725c94ef-d051-42d7-9d33-8572765d592b" providerId="AD" clId="Web-{D053432C-5284-0617-FAB1-59D94F6E44F4}" dt="2024-01-08T21:09:45.883" v="10"/>
          <ac:spMkLst>
            <pc:docMk/>
            <pc:sldMk cId="1961791320" sldId="772"/>
            <ac:spMk id="3" creationId="{E1057B13-E9AF-F46E-F60D-39877C8AA961}"/>
          </ac:spMkLst>
        </pc:spChg>
        <pc:spChg chg="add del">
          <ac:chgData name="Eileen Fleming Suse" userId="S::efs3844@ads.northwestern.edu::725c94ef-d051-42d7-9d33-8572765d592b" providerId="AD" clId="Web-{D053432C-5284-0617-FAB1-59D94F6E44F4}" dt="2024-01-08T21:10:03.149" v="13"/>
          <ac:spMkLst>
            <pc:docMk/>
            <pc:sldMk cId="1961791320" sldId="772"/>
            <ac:spMk id="7" creationId="{F9B19C64-7E03-2096-2171-0F4F53E4A9EC}"/>
          </ac:spMkLst>
        </pc:spChg>
        <pc:spChg chg="add mod">
          <ac:chgData name="Eileen Fleming Suse" userId="S::efs3844@ads.northwestern.edu::725c94ef-d051-42d7-9d33-8572765d592b" providerId="AD" clId="Web-{D053432C-5284-0617-FAB1-59D94F6E44F4}" dt="2024-01-08T21:11:25.088" v="48" actId="1076"/>
          <ac:spMkLst>
            <pc:docMk/>
            <pc:sldMk cId="1961791320" sldId="772"/>
            <ac:spMk id="8" creationId="{C3038878-2635-384E-3588-1C0333F4228F}"/>
          </ac:spMkLst>
        </pc:spChg>
        <pc:spChg chg="add del">
          <ac:chgData name="Eileen Fleming Suse" userId="S::efs3844@ads.northwestern.edu::725c94ef-d051-42d7-9d33-8572765d592b" providerId="AD" clId="Web-{D053432C-5284-0617-FAB1-59D94F6E44F4}" dt="2024-01-08T21:10:29.259" v="21"/>
          <ac:spMkLst>
            <pc:docMk/>
            <pc:sldMk cId="1961791320" sldId="772"/>
            <ac:spMk id="9" creationId="{8BE6519B-91F4-0DCA-C5AC-83C4A3C5134A}"/>
          </ac:spMkLst>
        </pc:spChg>
        <pc:spChg chg="add del">
          <ac:chgData name="Eileen Fleming Suse" userId="S::efs3844@ads.northwestern.edu::725c94ef-d051-42d7-9d33-8572765d592b" providerId="AD" clId="Web-{D053432C-5284-0617-FAB1-59D94F6E44F4}" dt="2024-01-08T21:10:34.790" v="23"/>
          <ac:spMkLst>
            <pc:docMk/>
            <pc:sldMk cId="1961791320" sldId="772"/>
            <ac:spMk id="10" creationId="{3811C915-F1F6-BDBF-2619-FECAC14AFA3A}"/>
          </ac:spMkLst>
        </pc:spChg>
        <pc:spChg chg="add del">
          <ac:chgData name="Eileen Fleming Suse" userId="S::efs3844@ads.northwestern.edu::725c94ef-d051-42d7-9d33-8572765d592b" providerId="AD" clId="Web-{D053432C-5284-0617-FAB1-59D94F6E44F4}" dt="2024-01-08T21:10:34.899" v="25"/>
          <ac:spMkLst>
            <pc:docMk/>
            <pc:sldMk cId="1961791320" sldId="772"/>
            <ac:spMk id="11" creationId="{E1DF1B10-092A-4D68-F904-F0725E748B9B}"/>
          </ac:spMkLst>
        </pc:spChg>
        <pc:spChg chg="add del">
          <ac:chgData name="Eileen Fleming Suse" userId="S::efs3844@ads.northwestern.edu::725c94ef-d051-42d7-9d33-8572765d592b" providerId="AD" clId="Web-{D053432C-5284-0617-FAB1-59D94F6E44F4}" dt="2024-01-08T21:10:38.775" v="27"/>
          <ac:spMkLst>
            <pc:docMk/>
            <pc:sldMk cId="1961791320" sldId="772"/>
            <ac:spMk id="12" creationId="{1C0DF700-AD11-D31A-1031-057AB910EB87}"/>
          </ac:spMkLst>
        </pc:spChg>
        <pc:spChg chg="add mod">
          <ac:chgData name="Eileen Fleming Suse" userId="S::efs3844@ads.northwestern.edu::725c94ef-d051-42d7-9d33-8572765d592b" providerId="AD" clId="Web-{D053432C-5284-0617-FAB1-59D94F6E44F4}" dt="2024-01-08T21:12:11.042" v="54" actId="20577"/>
          <ac:spMkLst>
            <pc:docMk/>
            <pc:sldMk cId="1961791320" sldId="772"/>
            <ac:spMk id="13" creationId="{9DC5C302-7AA6-34F8-4F89-806E68BD81B5}"/>
          </ac:spMkLst>
        </pc:spChg>
        <pc:spChg chg="add mod">
          <ac:chgData name="Eileen Fleming Suse" userId="S::efs3844@ads.northwestern.edu::725c94ef-d051-42d7-9d33-8572765d592b" providerId="AD" clId="Web-{D053432C-5284-0617-FAB1-59D94F6E44F4}" dt="2024-01-08T21:13:08.575" v="69" actId="688"/>
          <ac:spMkLst>
            <pc:docMk/>
            <pc:sldMk cId="1961791320" sldId="772"/>
            <ac:spMk id="15" creationId="{CEA5E17D-83B8-0221-9D35-886C9924A78D}"/>
          </ac:spMkLst>
        </pc:spChg>
        <pc:spChg chg="add mod">
          <ac:chgData name="Eileen Fleming Suse" userId="S::efs3844@ads.northwestern.edu::725c94ef-d051-42d7-9d33-8572765d592b" providerId="AD" clId="Web-{D053432C-5284-0617-FAB1-59D94F6E44F4}" dt="2024-01-08T21:13:08.325" v="68" actId="1076"/>
          <ac:spMkLst>
            <pc:docMk/>
            <pc:sldMk cId="1961791320" sldId="772"/>
            <ac:spMk id="16" creationId="{DB99B727-7CDB-518A-CB4B-346F91B8340E}"/>
          </ac:spMkLst>
        </pc:spChg>
        <pc:picChg chg="add mod ord">
          <ac:chgData name="Eileen Fleming Suse" userId="S::efs3844@ads.northwestern.edu::725c94ef-d051-42d7-9d33-8572765d592b" providerId="AD" clId="Web-{D053432C-5284-0617-FAB1-59D94F6E44F4}" dt="2024-01-08T21:11:08.728" v="43" actId="1076"/>
          <ac:picMkLst>
            <pc:docMk/>
            <pc:sldMk cId="1961791320" sldId="772"/>
            <ac:picMk id="6" creationId="{9E6AB7D9-754E-DDFE-827B-A8DDBC97BAE7}"/>
          </ac:picMkLst>
        </pc:picChg>
        <pc:picChg chg="add mod">
          <ac:chgData name="Eileen Fleming Suse" userId="S::efs3844@ads.northwestern.edu::725c94ef-d051-42d7-9d33-8572765d592b" providerId="AD" clId="Web-{D053432C-5284-0617-FAB1-59D94F6E44F4}" dt="2024-01-08T21:12:10.980" v="53" actId="1076"/>
          <ac:picMkLst>
            <pc:docMk/>
            <pc:sldMk cId="1961791320" sldId="772"/>
            <ac:picMk id="14" creationId="{AC3E8AF1-85D6-FBD8-C212-D67BF150CF61}"/>
          </ac:picMkLst>
        </pc:picChg>
      </pc:sldChg>
      <pc:sldChg chg="addSp modSp mod ord setBg">
        <pc:chgData name="Eileen Fleming Suse" userId="S::efs3844@ads.northwestern.edu::725c94ef-d051-42d7-9d33-8572765d592b" providerId="AD" clId="Web-{D053432C-5284-0617-FAB1-59D94F6E44F4}" dt="2024-01-08T21:29:23.303" v="146"/>
        <pc:sldMkLst>
          <pc:docMk/>
          <pc:sldMk cId="3462412353" sldId="773"/>
        </pc:sldMkLst>
        <pc:spChg chg="mod">
          <ac:chgData name="Eileen Fleming Suse" userId="S::efs3844@ads.northwestern.edu::725c94ef-d051-42d7-9d33-8572765d592b" providerId="AD" clId="Web-{D053432C-5284-0617-FAB1-59D94F6E44F4}" dt="2024-01-08T21:13:59.170" v="98"/>
          <ac:spMkLst>
            <pc:docMk/>
            <pc:sldMk cId="3462412353" sldId="773"/>
            <ac:spMk id="2" creationId="{7A590FE6-A718-DB35-8361-76567E797D89}"/>
          </ac:spMkLst>
        </pc:spChg>
        <pc:spChg chg="mod">
          <ac:chgData name="Eileen Fleming Suse" userId="S::efs3844@ads.northwestern.edu::725c94ef-d051-42d7-9d33-8572765d592b" providerId="AD" clId="Web-{D053432C-5284-0617-FAB1-59D94F6E44F4}" dt="2024-01-08T21:13:59.170" v="98"/>
          <ac:spMkLst>
            <pc:docMk/>
            <pc:sldMk cId="3462412353" sldId="773"/>
            <ac:spMk id="3" creationId="{76D5E36C-F04A-48A8-F17B-86E39E55C21E}"/>
          </ac:spMkLst>
        </pc:spChg>
        <pc:spChg chg="mod">
          <ac:chgData name="Eileen Fleming Suse" userId="S::efs3844@ads.northwestern.edu::725c94ef-d051-42d7-9d33-8572765d592b" providerId="AD" clId="Web-{D053432C-5284-0617-FAB1-59D94F6E44F4}" dt="2024-01-08T21:15:15.813" v="99" actId="20577"/>
          <ac:spMkLst>
            <pc:docMk/>
            <pc:sldMk cId="3462412353" sldId="773"/>
            <ac:spMk id="4" creationId="{AA4D8A5E-2359-C72F-DA7C-841511992AE7}"/>
          </ac:spMkLst>
        </pc:spChg>
        <pc:spChg chg="mod ord">
          <ac:chgData name="Eileen Fleming Suse" userId="S::efs3844@ads.northwestern.edu::725c94ef-d051-42d7-9d33-8572765d592b" providerId="AD" clId="Web-{D053432C-5284-0617-FAB1-59D94F6E44F4}" dt="2024-01-08T21:13:59.170" v="98"/>
          <ac:spMkLst>
            <pc:docMk/>
            <pc:sldMk cId="3462412353" sldId="773"/>
            <ac:spMk id="5" creationId="{4AD61EFC-3FF8-389F-9E2C-A095A14A17AC}"/>
          </ac:spMkLst>
        </pc:spChg>
        <pc:spChg chg="add">
          <ac:chgData name="Eileen Fleming Suse" userId="S::efs3844@ads.northwestern.edu::725c94ef-d051-42d7-9d33-8572765d592b" providerId="AD" clId="Web-{D053432C-5284-0617-FAB1-59D94F6E44F4}" dt="2024-01-08T21:13:59.170" v="98"/>
          <ac:spMkLst>
            <pc:docMk/>
            <pc:sldMk cId="3462412353" sldId="773"/>
            <ac:spMk id="10" creationId="{081EA652-8C6A-4E69-BEB9-170809474553}"/>
          </ac:spMkLst>
        </pc:spChg>
        <pc:spChg chg="add">
          <ac:chgData name="Eileen Fleming Suse" userId="S::efs3844@ads.northwestern.edu::725c94ef-d051-42d7-9d33-8572765d592b" providerId="AD" clId="Web-{D053432C-5284-0617-FAB1-59D94F6E44F4}" dt="2024-01-08T21:13:59.170" v="98"/>
          <ac:spMkLst>
            <pc:docMk/>
            <pc:sldMk cId="3462412353" sldId="773"/>
            <ac:spMk id="12" creationId="{5298780A-33B9-4EA2-8F67-DE68AD62841B}"/>
          </ac:spMkLst>
        </pc:spChg>
        <pc:spChg chg="add">
          <ac:chgData name="Eileen Fleming Suse" userId="S::efs3844@ads.northwestern.edu::725c94ef-d051-42d7-9d33-8572765d592b" providerId="AD" clId="Web-{D053432C-5284-0617-FAB1-59D94F6E44F4}" dt="2024-01-08T21:13:59.170" v="98"/>
          <ac:spMkLst>
            <pc:docMk/>
            <pc:sldMk cId="3462412353" sldId="773"/>
            <ac:spMk id="14" creationId="{7F488E8B-4E1E-4402-8935-D4E6C02615C7}"/>
          </ac:spMkLst>
        </pc:spChg>
        <pc:cxnChg chg="add">
          <ac:chgData name="Eileen Fleming Suse" userId="S::efs3844@ads.northwestern.edu::725c94ef-d051-42d7-9d33-8572765d592b" providerId="AD" clId="Web-{D053432C-5284-0617-FAB1-59D94F6E44F4}" dt="2024-01-08T21:13:59.170" v="98"/>
          <ac:cxnSpMkLst>
            <pc:docMk/>
            <pc:sldMk cId="3462412353" sldId="773"/>
            <ac:cxnSpMk id="16" creationId="{23AAC9B5-8015-485C-ACF9-A750390E9A56}"/>
          </ac:cxnSpMkLst>
        </pc:cxnChg>
      </pc:sldChg>
      <pc:sldChg chg="modSp">
        <pc:chgData name="Eileen Fleming Suse" userId="S::efs3844@ads.northwestern.edu::725c94ef-d051-42d7-9d33-8572765d592b" providerId="AD" clId="Web-{D053432C-5284-0617-FAB1-59D94F6E44F4}" dt="2024-01-10T00:41:11.490" v="1688"/>
        <pc:sldMkLst>
          <pc:docMk/>
          <pc:sldMk cId="4002180916" sldId="774"/>
        </pc:sldMkLst>
        <pc:spChg chg="mod">
          <ac:chgData name="Eileen Fleming Suse" userId="S::efs3844@ads.northwestern.edu::725c94ef-d051-42d7-9d33-8572765d592b" providerId="AD" clId="Web-{D053432C-5284-0617-FAB1-59D94F6E44F4}" dt="2024-01-10T00:41:11.490" v="1688"/>
          <ac:spMkLst>
            <pc:docMk/>
            <pc:sldMk cId="4002180916" sldId="774"/>
            <ac:spMk id="2" creationId="{BDB8D32D-C30E-7FF2-DD56-D84E932FAD70}"/>
          </ac:spMkLst>
        </pc:spChg>
      </pc:sldChg>
      <pc:sldChg chg="modSp">
        <pc:chgData name="Eileen Fleming Suse" userId="S::efs3844@ads.northwestern.edu::725c94ef-d051-42d7-9d33-8572765d592b" providerId="AD" clId="Web-{D053432C-5284-0617-FAB1-59D94F6E44F4}" dt="2024-01-08T21:16:38.127" v="106"/>
        <pc:sldMkLst>
          <pc:docMk/>
          <pc:sldMk cId="2951495738" sldId="775"/>
        </pc:sldMkLst>
        <pc:spChg chg="mod">
          <ac:chgData name="Eileen Fleming Suse" userId="S::efs3844@ads.northwestern.edu::725c94ef-d051-42d7-9d33-8572765d592b" providerId="AD" clId="Web-{D053432C-5284-0617-FAB1-59D94F6E44F4}" dt="2024-01-08T21:16:38.127" v="106"/>
          <ac:spMkLst>
            <pc:docMk/>
            <pc:sldMk cId="2951495738" sldId="775"/>
            <ac:spMk id="2" creationId="{9994FDD0-5D29-B485-6260-E82CA22C06C9}"/>
          </ac:spMkLst>
        </pc:spChg>
        <pc:spChg chg="mod">
          <ac:chgData name="Eileen Fleming Suse" userId="S::efs3844@ads.northwestern.edu::725c94ef-d051-42d7-9d33-8572765d592b" providerId="AD" clId="Web-{D053432C-5284-0617-FAB1-59D94F6E44F4}" dt="2024-01-08T21:16:33.862" v="105" actId="20577"/>
          <ac:spMkLst>
            <pc:docMk/>
            <pc:sldMk cId="2951495738" sldId="775"/>
            <ac:spMk id="8" creationId="{9953D7F1-17BD-728F-97C1-5B32C8D16034}"/>
          </ac:spMkLst>
        </pc:spChg>
      </pc:sldChg>
      <pc:sldChg chg="modSp">
        <pc:chgData name="Eileen Fleming Suse" userId="S::efs3844@ads.northwestern.edu::725c94ef-d051-42d7-9d33-8572765d592b" providerId="AD" clId="Web-{D053432C-5284-0617-FAB1-59D94F6E44F4}" dt="2024-01-11T14:41:39.348" v="1729"/>
        <pc:sldMkLst>
          <pc:docMk/>
          <pc:sldMk cId="2163654907" sldId="776"/>
        </pc:sldMkLst>
        <pc:spChg chg="mod">
          <ac:chgData name="Eileen Fleming Suse" userId="S::efs3844@ads.northwestern.edu::725c94ef-d051-42d7-9d33-8572765d592b" providerId="AD" clId="Web-{D053432C-5284-0617-FAB1-59D94F6E44F4}" dt="2024-01-11T14:41:39.348" v="1729"/>
          <ac:spMkLst>
            <pc:docMk/>
            <pc:sldMk cId="2163654907" sldId="776"/>
            <ac:spMk id="2" creationId="{CEB2BAFB-F3C3-2627-32FD-743D2B7B87DC}"/>
          </ac:spMkLst>
        </pc:spChg>
        <pc:spChg chg="mod">
          <ac:chgData name="Eileen Fleming Suse" userId="S::efs3844@ads.northwestern.edu::725c94ef-d051-42d7-9d33-8572765d592b" providerId="AD" clId="Web-{D053432C-5284-0617-FAB1-59D94F6E44F4}" dt="2024-01-11T14:41:35.066" v="1728" actId="1076"/>
          <ac:spMkLst>
            <pc:docMk/>
            <pc:sldMk cId="2163654907" sldId="776"/>
            <ac:spMk id="8" creationId="{ED1BE979-C18D-624E-E463-2C8C3A396A0B}"/>
          </ac:spMkLst>
        </pc:spChg>
      </pc:sldChg>
      <pc:sldChg chg="modSp">
        <pc:chgData name="Eileen Fleming Suse" userId="S::efs3844@ads.northwestern.edu::725c94ef-d051-42d7-9d33-8572765d592b" providerId="AD" clId="Web-{D053432C-5284-0617-FAB1-59D94F6E44F4}" dt="2024-01-10T00:41:24.022" v="1689"/>
        <pc:sldMkLst>
          <pc:docMk/>
          <pc:sldMk cId="329698235" sldId="777"/>
        </pc:sldMkLst>
        <pc:spChg chg="mod">
          <ac:chgData name="Eileen Fleming Suse" userId="S::efs3844@ads.northwestern.edu::725c94ef-d051-42d7-9d33-8572765d592b" providerId="AD" clId="Web-{D053432C-5284-0617-FAB1-59D94F6E44F4}" dt="2024-01-10T00:41:24.022" v="1689"/>
          <ac:spMkLst>
            <pc:docMk/>
            <pc:sldMk cId="329698235" sldId="777"/>
            <ac:spMk id="2" creationId="{14A91DB6-3A6E-3891-1B41-0FB70B5B2E42}"/>
          </ac:spMkLst>
        </pc:spChg>
      </pc:sldChg>
      <pc:sldChg chg="modSp ord">
        <pc:chgData name="Eileen Fleming Suse" userId="S::efs3844@ads.northwestern.edu::725c94ef-d051-42d7-9d33-8572765d592b" providerId="AD" clId="Web-{D053432C-5284-0617-FAB1-59D94F6E44F4}" dt="2024-01-11T22:26:37.599" v="1804"/>
        <pc:sldMkLst>
          <pc:docMk/>
          <pc:sldMk cId="651048136" sldId="778"/>
        </pc:sldMkLst>
        <pc:spChg chg="mod">
          <ac:chgData name="Eileen Fleming Suse" userId="S::efs3844@ads.northwestern.edu::725c94ef-d051-42d7-9d33-8572765d592b" providerId="AD" clId="Web-{D053432C-5284-0617-FAB1-59D94F6E44F4}" dt="2024-01-08T21:17:26.003" v="115"/>
          <ac:spMkLst>
            <pc:docMk/>
            <pc:sldMk cId="651048136" sldId="778"/>
            <ac:spMk id="2" creationId="{1EAF87EB-824D-4AAD-1959-46B53FBC0AD7}"/>
          </ac:spMkLst>
        </pc:spChg>
      </pc:sldChg>
      <pc:sldChg chg="addSp modSp">
        <pc:chgData name="Eileen Fleming Suse" userId="S::efs3844@ads.northwestern.edu::725c94ef-d051-42d7-9d33-8572765d592b" providerId="AD" clId="Web-{D053432C-5284-0617-FAB1-59D94F6E44F4}" dt="2024-01-08T21:38:54.286" v="371" actId="1076"/>
        <pc:sldMkLst>
          <pc:docMk/>
          <pc:sldMk cId="3952621467" sldId="779"/>
        </pc:sldMkLst>
        <pc:spChg chg="mod">
          <ac:chgData name="Eileen Fleming Suse" userId="S::efs3844@ads.northwestern.edu::725c94ef-d051-42d7-9d33-8572765d592b" providerId="AD" clId="Web-{D053432C-5284-0617-FAB1-59D94F6E44F4}" dt="2024-01-08T21:37:35.956" v="330" actId="1076"/>
          <ac:spMkLst>
            <pc:docMk/>
            <pc:sldMk cId="3952621467" sldId="779"/>
            <ac:spMk id="3" creationId="{3D116CC5-783C-05ED-E59D-C20917A3F977}"/>
          </ac:spMkLst>
        </pc:spChg>
        <pc:spChg chg="mod">
          <ac:chgData name="Eileen Fleming Suse" userId="S::efs3844@ads.northwestern.edu::725c94ef-d051-42d7-9d33-8572765d592b" providerId="AD" clId="Web-{D053432C-5284-0617-FAB1-59D94F6E44F4}" dt="2024-01-08T21:37:41.893" v="331" actId="1076"/>
          <ac:spMkLst>
            <pc:docMk/>
            <pc:sldMk cId="3952621467" sldId="779"/>
            <ac:spMk id="6" creationId="{624E5E16-C2C8-3E70-D60F-7779039D5D3F}"/>
          </ac:spMkLst>
        </pc:spChg>
        <pc:spChg chg="add mod">
          <ac:chgData name="Eileen Fleming Suse" userId="S::efs3844@ads.northwestern.edu::725c94ef-d051-42d7-9d33-8572765d592b" providerId="AD" clId="Web-{D053432C-5284-0617-FAB1-59D94F6E44F4}" dt="2024-01-08T21:38:54.286" v="371" actId="1076"/>
          <ac:spMkLst>
            <pc:docMk/>
            <pc:sldMk cId="3952621467" sldId="779"/>
            <ac:spMk id="7" creationId="{5BDCD7E9-0895-8935-4DB8-19819607476B}"/>
          </ac:spMkLst>
        </pc:spChg>
        <pc:spChg chg="mod">
          <ac:chgData name="Eileen Fleming Suse" userId="S::efs3844@ads.northwestern.edu::725c94ef-d051-42d7-9d33-8572765d592b" providerId="AD" clId="Web-{D053432C-5284-0617-FAB1-59D94F6E44F4}" dt="2024-01-08T21:37:45.612" v="332" actId="1076"/>
          <ac:spMkLst>
            <pc:docMk/>
            <pc:sldMk cId="3952621467" sldId="779"/>
            <ac:spMk id="8" creationId="{1AC53495-722C-9B2E-6443-ACD63887CC51}"/>
          </ac:spMkLst>
        </pc:spChg>
        <pc:spChg chg="mod">
          <ac:chgData name="Eileen Fleming Suse" userId="S::efs3844@ads.northwestern.edu::725c94ef-d051-42d7-9d33-8572765d592b" providerId="AD" clId="Web-{D053432C-5284-0617-FAB1-59D94F6E44F4}" dt="2024-01-08T21:37:50.081" v="333" actId="1076"/>
          <ac:spMkLst>
            <pc:docMk/>
            <pc:sldMk cId="3952621467" sldId="779"/>
            <ac:spMk id="9" creationId="{81BF1FA0-2540-FD9B-D2A5-56A7EF7EEB4D}"/>
          </ac:spMkLst>
        </pc:spChg>
      </pc:sldChg>
      <pc:sldChg chg="modNotes">
        <pc:chgData name="Eileen Fleming Suse" userId="S::efs3844@ads.northwestern.edu::725c94ef-d051-42d7-9d33-8572765d592b" providerId="AD" clId="Web-{D053432C-5284-0617-FAB1-59D94F6E44F4}" dt="2024-01-09T19:31:48.448" v="858"/>
        <pc:sldMkLst>
          <pc:docMk/>
          <pc:sldMk cId="1760752827" sldId="781"/>
        </pc:sldMkLst>
      </pc:sldChg>
      <pc:sldChg chg="modSp modNotes">
        <pc:chgData name="Eileen Fleming Suse" userId="S::efs3844@ads.northwestern.edu::725c94ef-d051-42d7-9d33-8572765d592b" providerId="AD" clId="Web-{D053432C-5284-0617-FAB1-59D94F6E44F4}" dt="2024-01-11T17:03:50.944" v="1800" actId="1076"/>
        <pc:sldMkLst>
          <pc:docMk/>
          <pc:sldMk cId="1996400893" sldId="782"/>
        </pc:sldMkLst>
        <pc:spChg chg="mod">
          <ac:chgData name="Eileen Fleming Suse" userId="S::efs3844@ads.northwestern.edu::725c94ef-d051-42d7-9d33-8572765d592b" providerId="AD" clId="Web-{D053432C-5284-0617-FAB1-59D94F6E44F4}" dt="2024-01-11T17:03:42.585" v="1796"/>
          <ac:spMkLst>
            <pc:docMk/>
            <pc:sldMk cId="1996400893" sldId="782"/>
            <ac:spMk id="2" creationId="{5FE65BC2-3E0A-5267-2728-E75C5322EA1E}"/>
          </ac:spMkLst>
        </pc:spChg>
        <pc:graphicFrameChg chg="mod modGraphic">
          <ac:chgData name="Eileen Fleming Suse" userId="S::efs3844@ads.northwestern.edu::725c94ef-d051-42d7-9d33-8572765d592b" providerId="AD" clId="Web-{D053432C-5284-0617-FAB1-59D94F6E44F4}" dt="2024-01-11T17:03:50.944" v="1800" actId="1076"/>
          <ac:graphicFrameMkLst>
            <pc:docMk/>
            <pc:sldMk cId="1996400893" sldId="782"/>
            <ac:graphicFrameMk id="8" creationId="{7983D868-A342-276F-1CAA-03CC6C829F2D}"/>
          </ac:graphicFrameMkLst>
        </pc:graphicFrameChg>
      </pc:sldChg>
      <pc:sldChg chg="modSp">
        <pc:chgData name="Eileen Fleming Suse" userId="S::efs3844@ads.northwestern.edu::725c94ef-d051-42d7-9d33-8572765d592b" providerId="AD" clId="Web-{D053432C-5284-0617-FAB1-59D94F6E44F4}" dt="2024-01-08T21:00:53.151" v="9" actId="20577"/>
        <pc:sldMkLst>
          <pc:docMk/>
          <pc:sldMk cId="3842601195" sldId="783"/>
        </pc:sldMkLst>
        <pc:spChg chg="mod">
          <ac:chgData name="Eileen Fleming Suse" userId="S::efs3844@ads.northwestern.edu::725c94ef-d051-42d7-9d33-8572765d592b" providerId="AD" clId="Web-{D053432C-5284-0617-FAB1-59D94F6E44F4}" dt="2024-01-08T21:00:53.151" v="9" actId="20577"/>
          <ac:spMkLst>
            <pc:docMk/>
            <pc:sldMk cId="3842601195" sldId="783"/>
            <ac:spMk id="3" creationId="{AF23E682-DF1B-CD72-993B-F85306E73D4C}"/>
          </ac:spMkLst>
        </pc:spChg>
      </pc:sldChg>
      <pc:sldChg chg="modSp new del">
        <pc:chgData name="Eileen Fleming Suse" userId="S::efs3844@ads.northwestern.edu::725c94ef-d051-42d7-9d33-8572765d592b" providerId="AD" clId="Web-{D053432C-5284-0617-FAB1-59D94F6E44F4}" dt="2024-01-10T00:41:04.365" v="1687"/>
        <pc:sldMkLst>
          <pc:docMk/>
          <pc:sldMk cId="421570503" sldId="784"/>
        </pc:sldMkLst>
        <pc:spChg chg="mod">
          <ac:chgData name="Eileen Fleming Suse" userId="S::efs3844@ads.northwestern.edu::725c94ef-d051-42d7-9d33-8572765d592b" providerId="AD" clId="Web-{D053432C-5284-0617-FAB1-59D94F6E44F4}" dt="2024-01-08T21:17:36.894" v="116"/>
          <ac:spMkLst>
            <pc:docMk/>
            <pc:sldMk cId="421570503" sldId="784"/>
            <ac:spMk id="2" creationId="{4A2BFF23-A4A3-3C8C-FA4D-4CD20E2B97EF}"/>
          </ac:spMkLst>
        </pc:spChg>
      </pc:sldChg>
      <pc:sldChg chg="modSp new">
        <pc:chgData name="Eileen Fleming Suse" userId="S::efs3844@ads.northwestern.edu::725c94ef-d051-42d7-9d33-8572765d592b" providerId="AD" clId="Web-{D053432C-5284-0617-FAB1-59D94F6E44F4}" dt="2024-01-11T22:27:28.147" v="1812" actId="20577"/>
        <pc:sldMkLst>
          <pc:docMk/>
          <pc:sldMk cId="1383153618" sldId="785"/>
        </pc:sldMkLst>
        <pc:spChg chg="mod">
          <ac:chgData name="Eileen Fleming Suse" userId="S::efs3844@ads.northwestern.edu::725c94ef-d051-42d7-9d33-8572765d592b" providerId="AD" clId="Web-{D053432C-5284-0617-FAB1-59D94F6E44F4}" dt="2024-01-08T21:30:55.117" v="156" actId="20577"/>
          <ac:spMkLst>
            <pc:docMk/>
            <pc:sldMk cId="1383153618" sldId="785"/>
            <ac:spMk id="2" creationId="{1ADE3F33-C3B5-E055-DCEE-2F9C85028D71}"/>
          </ac:spMkLst>
        </pc:spChg>
        <pc:spChg chg="mod">
          <ac:chgData name="Eileen Fleming Suse" userId="S::efs3844@ads.northwestern.edu::725c94ef-d051-42d7-9d33-8572765d592b" providerId="AD" clId="Web-{D053432C-5284-0617-FAB1-59D94F6E44F4}" dt="2024-01-11T22:27:28.147" v="1812" actId="20577"/>
          <ac:spMkLst>
            <pc:docMk/>
            <pc:sldMk cId="1383153618" sldId="785"/>
            <ac:spMk id="3" creationId="{A8FB859F-8E0E-956F-2CC7-6B79360725AD}"/>
          </ac:spMkLst>
        </pc:spChg>
      </pc:sldChg>
      <pc:sldChg chg="addSp delSp modSp new">
        <pc:chgData name="Eileen Fleming Suse" userId="S::efs3844@ads.northwestern.edu::725c94ef-d051-42d7-9d33-8572765d592b" providerId="AD" clId="Web-{D053432C-5284-0617-FAB1-59D94F6E44F4}" dt="2024-01-08T21:43:33.933" v="483" actId="1076"/>
        <pc:sldMkLst>
          <pc:docMk/>
          <pc:sldMk cId="4076439790" sldId="786"/>
        </pc:sldMkLst>
        <pc:spChg chg="mod">
          <ac:chgData name="Eileen Fleming Suse" userId="S::efs3844@ads.northwestern.edu::725c94ef-d051-42d7-9d33-8572765d592b" providerId="AD" clId="Web-{D053432C-5284-0617-FAB1-59D94F6E44F4}" dt="2024-01-08T21:39:59.803" v="389" actId="20577"/>
          <ac:spMkLst>
            <pc:docMk/>
            <pc:sldMk cId="4076439790" sldId="786"/>
            <ac:spMk id="2" creationId="{27D04BC4-FDCE-7B1B-D288-192FF0AC17CF}"/>
          </ac:spMkLst>
        </pc:spChg>
        <pc:spChg chg="del">
          <ac:chgData name="Eileen Fleming Suse" userId="S::efs3844@ads.northwestern.edu::725c94ef-d051-42d7-9d33-8572765d592b" providerId="AD" clId="Web-{D053432C-5284-0617-FAB1-59D94F6E44F4}" dt="2024-01-08T21:40:00.365" v="390"/>
          <ac:spMkLst>
            <pc:docMk/>
            <pc:sldMk cId="4076439790" sldId="786"/>
            <ac:spMk id="3" creationId="{628DB9E9-EE5E-9796-0E33-6B0EF5DAB193}"/>
          </ac:spMkLst>
        </pc:spChg>
        <pc:spChg chg="add mod">
          <ac:chgData name="Eileen Fleming Suse" userId="S::efs3844@ads.northwestern.edu::725c94ef-d051-42d7-9d33-8572765d592b" providerId="AD" clId="Web-{D053432C-5284-0617-FAB1-59D94F6E44F4}" dt="2024-01-08T21:43:33.933" v="483" actId="1076"/>
          <ac:spMkLst>
            <pc:docMk/>
            <pc:sldMk cId="4076439790" sldId="786"/>
            <ac:spMk id="7" creationId="{85AF476D-E255-AA0F-4E41-D18CBB455173}"/>
          </ac:spMkLst>
        </pc:spChg>
        <pc:spChg chg="add mod">
          <ac:chgData name="Eileen Fleming Suse" userId="S::efs3844@ads.northwestern.edu::725c94ef-d051-42d7-9d33-8572765d592b" providerId="AD" clId="Web-{D053432C-5284-0617-FAB1-59D94F6E44F4}" dt="2024-01-08T21:43:26.792" v="479" actId="1076"/>
          <ac:spMkLst>
            <pc:docMk/>
            <pc:sldMk cId="4076439790" sldId="786"/>
            <ac:spMk id="9" creationId="{B2EF1FE1-43ED-D200-5EAE-E15B334B31A6}"/>
          </ac:spMkLst>
        </pc:spChg>
        <pc:spChg chg="add del">
          <ac:chgData name="Eileen Fleming Suse" userId="S::efs3844@ads.northwestern.edu::725c94ef-d051-42d7-9d33-8572765d592b" providerId="AD" clId="Web-{D053432C-5284-0617-FAB1-59D94F6E44F4}" dt="2024-01-08T21:40:34.741" v="401"/>
          <ac:spMkLst>
            <pc:docMk/>
            <pc:sldMk cId="4076439790" sldId="786"/>
            <ac:spMk id="10" creationId="{6E913D13-5E35-F534-FBB4-0BDA57BDDACE}"/>
          </ac:spMkLst>
        </pc:spChg>
        <pc:spChg chg="add mod">
          <ac:chgData name="Eileen Fleming Suse" userId="S::efs3844@ads.northwestern.edu::725c94ef-d051-42d7-9d33-8572765d592b" providerId="AD" clId="Web-{D053432C-5284-0617-FAB1-59D94F6E44F4}" dt="2024-01-08T21:43:26.808" v="480" actId="1076"/>
          <ac:spMkLst>
            <pc:docMk/>
            <pc:sldMk cId="4076439790" sldId="786"/>
            <ac:spMk id="11" creationId="{E35200C2-C3FD-E192-EF27-715A1699F06A}"/>
          </ac:spMkLst>
        </pc:spChg>
        <pc:spChg chg="add mod">
          <ac:chgData name="Eileen Fleming Suse" userId="S::efs3844@ads.northwestern.edu::725c94ef-d051-42d7-9d33-8572765d592b" providerId="AD" clId="Web-{D053432C-5284-0617-FAB1-59D94F6E44F4}" dt="2024-01-08T21:43:26.808" v="481" actId="1076"/>
          <ac:spMkLst>
            <pc:docMk/>
            <pc:sldMk cId="4076439790" sldId="786"/>
            <ac:spMk id="12" creationId="{E29A0596-DC3E-2E1C-06B6-3ACCB81E7E9B}"/>
          </ac:spMkLst>
        </pc:spChg>
        <pc:spChg chg="add mod">
          <ac:chgData name="Eileen Fleming Suse" userId="S::efs3844@ads.northwestern.edu::725c94ef-d051-42d7-9d33-8572765d592b" providerId="AD" clId="Web-{D053432C-5284-0617-FAB1-59D94F6E44F4}" dt="2024-01-08T21:43:29.918" v="482" actId="1076"/>
          <ac:spMkLst>
            <pc:docMk/>
            <pc:sldMk cId="4076439790" sldId="786"/>
            <ac:spMk id="13" creationId="{0BFA4BC0-5C13-5D86-D1F4-CB891EB2DA6A}"/>
          </ac:spMkLst>
        </pc:spChg>
        <pc:picChg chg="add mod ord">
          <ac:chgData name="Eileen Fleming Suse" userId="S::efs3844@ads.northwestern.edu::725c94ef-d051-42d7-9d33-8572765d592b" providerId="AD" clId="Web-{D053432C-5284-0617-FAB1-59D94F6E44F4}" dt="2024-01-08T21:43:26.792" v="478" actId="1076"/>
          <ac:picMkLst>
            <pc:docMk/>
            <pc:sldMk cId="4076439790" sldId="786"/>
            <ac:picMk id="8" creationId="{E7DFC1F9-C5E5-8106-F025-DB03C289CA7C}"/>
          </ac:picMkLst>
        </pc:picChg>
      </pc:sldChg>
      <pc:sldChg chg="modSp new">
        <pc:chgData name="Eileen Fleming Suse" userId="S::efs3844@ads.northwestern.edu::725c94ef-d051-42d7-9d33-8572765d592b" providerId="AD" clId="Web-{D053432C-5284-0617-FAB1-59D94F6E44F4}" dt="2024-01-11T22:27:54.210" v="1839" actId="20577"/>
        <pc:sldMkLst>
          <pc:docMk/>
          <pc:sldMk cId="4251414166" sldId="787"/>
        </pc:sldMkLst>
        <pc:spChg chg="mod">
          <ac:chgData name="Eileen Fleming Suse" userId="S::efs3844@ads.northwestern.edu::725c94ef-d051-42d7-9d33-8572765d592b" providerId="AD" clId="Web-{D053432C-5284-0617-FAB1-59D94F6E44F4}" dt="2024-01-11T17:02:35.645" v="1752" actId="20577"/>
          <ac:spMkLst>
            <pc:docMk/>
            <pc:sldMk cId="4251414166" sldId="787"/>
            <ac:spMk id="2" creationId="{A66873EC-1DD6-BB4A-FC55-6BA73A7F9CE0}"/>
          </ac:spMkLst>
        </pc:spChg>
        <pc:spChg chg="mod">
          <ac:chgData name="Eileen Fleming Suse" userId="S::efs3844@ads.northwestern.edu::725c94ef-d051-42d7-9d33-8572765d592b" providerId="AD" clId="Web-{D053432C-5284-0617-FAB1-59D94F6E44F4}" dt="2024-01-11T22:27:54.210" v="1839" actId="20577"/>
          <ac:spMkLst>
            <pc:docMk/>
            <pc:sldMk cId="4251414166" sldId="787"/>
            <ac:spMk id="3" creationId="{C897915C-45D7-A970-FA8A-CAFB0C121186}"/>
          </ac:spMkLst>
        </pc:spChg>
      </pc:sldChg>
      <pc:sldChg chg="add">
        <pc:chgData name="Eileen Fleming Suse" userId="S::efs3844@ads.northwestern.edu::725c94ef-d051-42d7-9d33-8572765d592b" providerId="AD" clId="Web-{D053432C-5284-0617-FAB1-59D94F6E44F4}" dt="2024-01-11T17:56:26.333" v="1803"/>
        <pc:sldMkLst>
          <pc:docMk/>
          <pc:sldMk cId="1192176824" sldId="804"/>
        </pc:sldMkLst>
      </pc:sldChg>
    </pc:docChg>
  </pc:docChgLst>
  <pc:docChgLst>
    <pc:chgData name="Alana Rivera" userId="S::arg3669@ads.northwestern.edu::fc8b707a-b7e9-4f2a-8d71-2d76819b7881" providerId="AD" clId="Web-{8E54177A-FEA1-170D-0EA8-ABD6FF4ACD90}"/>
    <pc:docChg chg="addSld modSld modMainMaster">
      <pc:chgData name="Alana Rivera" userId="S::arg3669@ads.northwestern.edu::fc8b707a-b7e9-4f2a-8d71-2d76819b7881" providerId="AD" clId="Web-{8E54177A-FEA1-170D-0EA8-ABD6FF4ACD90}" dt="2023-10-30T19:44:29.502" v="28" actId="1076"/>
      <pc:docMkLst>
        <pc:docMk/>
      </pc:docMkLst>
      <pc:sldChg chg="addCm">
        <pc:chgData name="Alana Rivera" userId="S::arg3669@ads.northwestern.edu::fc8b707a-b7e9-4f2a-8d71-2d76819b7881" providerId="AD" clId="Web-{8E54177A-FEA1-170D-0EA8-ABD6FF4ACD90}" dt="2023-10-30T19:07:35.597" v="0"/>
        <pc:sldMkLst>
          <pc:docMk/>
          <pc:sldMk cId="3127921386" sldId="280"/>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8E54177A-FEA1-170D-0EA8-ABD6FF4ACD90}" dt="2023-10-30T19:07:35.597" v="0"/>
              <pc2:cmMkLst xmlns:pc2="http://schemas.microsoft.com/office/powerpoint/2019/9/main/command">
                <pc:docMk/>
                <pc:sldMk cId="3127921386" sldId="280"/>
                <pc2:cmMk id="{78C9B980-2656-432B-BA11-07ACE79B211F}"/>
              </pc2:cmMkLst>
            </pc226:cmChg>
          </p:ext>
        </pc:extLst>
      </pc:sldChg>
      <pc:sldChg chg="addSp modSp">
        <pc:chgData name="Alana Rivera" userId="S::arg3669@ads.northwestern.edu::fc8b707a-b7e9-4f2a-8d71-2d76819b7881" providerId="AD" clId="Web-{8E54177A-FEA1-170D-0EA8-ABD6FF4ACD90}" dt="2023-10-30T19:42:37.202" v="17" actId="20577"/>
        <pc:sldMkLst>
          <pc:docMk/>
          <pc:sldMk cId="3419957415" sldId="577"/>
        </pc:sldMkLst>
        <pc:spChg chg="add mod">
          <ac:chgData name="Alana Rivera" userId="S::arg3669@ads.northwestern.edu::fc8b707a-b7e9-4f2a-8d71-2d76819b7881" providerId="AD" clId="Web-{8E54177A-FEA1-170D-0EA8-ABD6FF4ACD90}" dt="2023-10-30T19:42:37.202" v="17" actId="20577"/>
          <ac:spMkLst>
            <pc:docMk/>
            <pc:sldMk cId="3419957415" sldId="577"/>
            <ac:spMk id="64" creationId="{CE06DA76-2516-7530-74D6-38D1B1FC6BFE}"/>
          </ac:spMkLst>
        </pc:spChg>
      </pc:sldChg>
      <pc:sldChg chg="addSp modSp">
        <pc:chgData name="Alana Rivera" userId="S::arg3669@ads.northwestern.edu::fc8b707a-b7e9-4f2a-8d71-2d76819b7881" providerId="AD" clId="Web-{8E54177A-FEA1-170D-0EA8-ABD6FF4ACD90}" dt="2023-10-30T19:44:29.502" v="28" actId="1076"/>
        <pc:sldMkLst>
          <pc:docMk/>
          <pc:sldMk cId="785115983" sldId="578"/>
        </pc:sldMkLst>
        <pc:spChg chg="add mod">
          <ac:chgData name="Alana Rivera" userId="S::arg3669@ads.northwestern.edu::fc8b707a-b7e9-4f2a-8d71-2d76819b7881" providerId="AD" clId="Web-{8E54177A-FEA1-170D-0EA8-ABD6FF4ACD90}" dt="2023-10-30T19:44:29.502" v="28" actId="1076"/>
          <ac:spMkLst>
            <pc:docMk/>
            <pc:sldMk cId="785115983" sldId="578"/>
            <ac:spMk id="54" creationId="{3719DC3C-330E-96DC-F3E0-D6B8EE5E5A3C}"/>
          </ac:spMkLst>
        </pc:spChg>
      </pc:sldChg>
      <pc:sldChg chg="addSp modSp">
        <pc:chgData name="Alana Rivera" userId="S::arg3669@ads.northwestern.edu::fc8b707a-b7e9-4f2a-8d71-2d76819b7881" providerId="AD" clId="Web-{8E54177A-FEA1-170D-0EA8-ABD6FF4ACD90}" dt="2023-10-30T19:44:18.002" v="26" actId="1076"/>
        <pc:sldMkLst>
          <pc:docMk/>
          <pc:sldMk cId="3030449316" sldId="579"/>
        </pc:sldMkLst>
        <pc:spChg chg="add mod">
          <ac:chgData name="Alana Rivera" userId="S::arg3669@ads.northwestern.edu::fc8b707a-b7e9-4f2a-8d71-2d76819b7881" providerId="AD" clId="Web-{8E54177A-FEA1-170D-0EA8-ABD6FF4ACD90}" dt="2023-10-30T19:44:18.002" v="26" actId="1076"/>
          <ac:spMkLst>
            <pc:docMk/>
            <pc:sldMk cId="3030449316" sldId="579"/>
            <ac:spMk id="56" creationId="{AB0F7BDF-C613-8BB0-BFCB-8F26B40EC06E}"/>
          </ac:spMkLst>
        </pc:spChg>
      </pc:sldChg>
      <pc:sldChg chg="addSp modSp">
        <pc:chgData name="Alana Rivera" userId="S::arg3669@ads.northwestern.edu::fc8b707a-b7e9-4f2a-8d71-2d76819b7881" providerId="AD" clId="Web-{8E54177A-FEA1-170D-0EA8-ABD6FF4ACD90}" dt="2023-10-30T19:44:05.314" v="24" actId="1076"/>
        <pc:sldMkLst>
          <pc:docMk/>
          <pc:sldMk cId="4283907660" sldId="580"/>
        </pc:sldMkLst>
        <pc:spChg chg="add mod">
          <ac:chgData name="Alana Rivera" userId="S::arg3669@ads.northwestern.edu::fc8b707a-b7e9-4f2a-8d71-2d76819b7881" providerId="AD" clId="Web-{8E54177A-FEA1-170D-0EA8-ABD6FF4ACD90}" dt="2023-10-30T19:44:05.314" v="24" actId="1076"/>
          <ac:spMkLst>
            <pc:docMk/>
            <pc:sldMk cId="4283907660" sldId="580"/>
            <ac:spMk id="71" creationId="{755536B4-F5C2-3697-61E6-0681DE0C12BD}"/>
          </ac:spMkLst>
        </pc:spChg>
      </pc:sldChg>
      <pc:sldChg chg="addSp modSp">
        <pc:chgData name="Alana Rivera" userId="S::arg3669@ads.northwestern.edu::fc8b707a-b7e9-4f2a-8d71-2d76819b7881" providerId="AD" clId="Web-{8E54177A-FEA1-170D-0EA8-ABD6FF4ACD90}" dt="2023-10-30T19:42:59.765" v="19" actId="1076"/>
        <pc:sldMkLst>
          <pc:docMk/>
          <pc:sldMk cId="3429940818" sldId="581"/>
        </pc:sldMkLst>
        <pc:spChg chg="add mod">
          <ac:chgData name="Alana Rivera" userId="S::arg3669@ads.northwestern.edu::fc8b707a-b7e9-4f2a-8d71-2d76819b7881" providerId="AD" clId="Web-{8E54177A-FEA1-170D-0EA8-ABD6FF4ACD90}" dt="2023-10-30T19:42:59.765" v="19" actId="1076"/>
          <ac:spMkLst>
            <pc:docMk/>
            <pc:sldMk cId="3429940818" sldId="581"/>
            <ac:spMk id="73" creationId="{1A989E17-799A-6415-ED4B-A44CCA00B657}"/>
          </ac:spMkLst>
        </pc:spChg>
      </pc:sldChg>
      <pc:sldChg chg="add">
        <pc:chgData name="Alana Rivera" userId="S::arg3669@ads.northwestern.edu::fc8b707a-b7e9-4f2a-8d71-2d76819b7881" providerId="AD" clId="Web-{8E54177A-FEA1-170D-0EA8-ABD6FF4ACD90}" dt="2023-10-30T19:11:07.401" v="1"/>
        <pc:sldMkLst>
          <pc:docMk/>
          <pc:sldMk cId="1271905251" sldId="637"/>
        </pc:sldMkLst>
      </pc:sldChg>
      <pc:sldChg chg="add">
        <pc:chgData name="Alana Rivera" userId="S::arg3669@ads.northwestern.edu::fc8b707a-b7e9-4f2a-8d71-2d76819b7881" providerId="AD" clId="Web-{8E54177A-FEA1-170D-0EA8-ABD6FF4ACD90}" dt="2023-10-30T19:11:07.526" v="2"/>
        <pc:sldMkLst>
          <pc:docMk/>
          <pc:sldMk cId="2890705621" sldId="638"/>
        </pc:sldMkLst>
      </pc:sldChg>
      <pc:sldChg chg="add">
        <pc:chgData name="Alana Rivera" userId="S::arg3669@ads.northwestern.edu::fc8b707a-b7e9-4f2a-8d71-2d76819b7881" providerId="AD" clId="Web-{8E54177A-FEA1-170D-0EA8-ABD6FF4ACD90}" dt="2023-10-30T19:11:25.277" v="3"/>
        <pc:sldMkLst>
          <pc:docMk/>
          <pc:sldMk cId="3557549611" sldId="639"/>
        </pc:sldMkLst>
      </pc:sldChg>
      <pc:sldMasterChg chg="addSldLayout">
        <pc:chgData name="Alana Rivera" userId="S::arg3669@ads.northwestern.edu::fc8b707a-b7e9-4f2a-8d71-2d76819b7881" providerId="AD" clId="Web-{8E54177A-FEA1-170D-0EA8-ABD6FF4ACD90}" dt="2023-10-30T19:11:07.401" v="1"/>
        <pc:sldMasterMkLst>
          <pc:docMk/>
          <pc:sldMasterMk cId="3378073280" sldId="2147483756"/>
        </pc:sldMasterMkLst>
        <pc:sldLayoutChg chg="add">
          <pc:chgData name="Alana Rivera" userId="S::arg3669@ads.northwestern.edu::fc8b707a-b7e9-4f2a-8d71-2d76819b7881" providerId="AD" clId="Web-{8E54177A-FEA1-170D-0EA8-ABD6FF4ACD90}" dt="2023-10-30T19:11:07.401" v="1"/>
          <pc:sldLayoutMkLst>
            <pc:docMk/>
            <pc:sldMasterMk cId="3378073280" sldId="2147483756"/>
            <pc:sldLayoutMk cId="2441756453" sldId="2147483680"/>
          </pc:sldLayoutMkLst>
        </pc:sldLayoutChg>
        <pc:sldLayoutChg chg="add">
          <pc:chgData name="Alana Rivera" userId="S::arg3669@ads.northwestern.edu::fc8b707a-b7e9-4f2a-8d71-2d76819b7881" providerId="AD" clId="Web-{8E54177A-FEA1-170D-0EA8-ABD6FF4ACD90}" dt="2023-10-30T19:11:07.401" v="1"/>
          <pc:sldLayoutMkLst>
            <pc:docMk/>
            <pc:sldMasterMk cId="3378073280" sldId="2147483756"/>
            <pc:sldLayoutMk cId="4224424939" sldId="2147483681"/>
          </pc:sldLayoutMkLst>
        </pc:sldLayoutChg>
      </pc:sldMasterChg>
      <pc:sldMasterChg chg="modSldLayout">
        <pc:chgData name="Alana Rivera" userId="S::arg3669@ads.northwestern.edu::fc8b707a-b7e9-4f2a-8d71-2d76819b7881" providerId="AD" clId="Web-{8E54177A-FEA1-170D-0EA8-ABD6FF4ACD90}" dt="2023-10-30T19:11:07.401" v="1"/>
        <pc:sldMasterMkLst>
          <pc:docMk/>
          <pc:sldMasterMk cId="0" sldId="2147484595"/>
        </pc:sldMasterMkLst>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0"/>
          </pc:sldLayoutMkLst>
        </pc:sldLayoutChg>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DC570ED0-804E-A0E2-5D93-D510896DFB64}"/>
    <pc:docChg chg="addSld modSld">
      <pc:chgData name="Isabel Rose Gippo" userId="S::irg9370@ads.northwestern.edu::b10bfe7e-55b9-46dd-9add-2eb52cb66d3b" providerId="AD" clId="Web-{DC570ED0-804E-A0E2-5D93-D510896DFB64}" dt="2023-10-24T14:25:12.957" v="624"/>
      <pc:docMkLst>
        <pc:docMk/>
      </pc:docMkLst>
      <pc:sldChg chg="addSp delSp modSp add replId">
        <pc:chgData name="Isabel Rose Gippo" userId="S::irg9370@ads.northwestern.edu::b10bfe7e-55b9-46dd-9add-2eb52cb66d3b" providerId="AD" clId="Web-{DC570ED0-804E-A0E2-5D93-D510896DFB64}" dt="2023-10-24T13:50:42.643" v="314" actId="20577"/>
        <pc:sldMkLst>
          <pc:docMk/>
          <pc:sldMk cId="3090389772" sldId="568"/>
        </pc:sldMkLst>
        <pc:spChg chg="del">
          <ac:chgData name="Isabel Rose Gippo" userId="S::irg9370@ads.northwestern.edu::b10bfe7e-55b9-46dd-9add-2eb52cb66d3b" providerId="AD" clId="Web-{DC570ED0-804E-A0E2-5D93-D510896DFB64}" dt="2023-10-24T13:23:11.220" v="1"/>
          <ac:spMkLst>
            <pc:docMk/>
            <pc:sldMk cId="3090389772" sldId="568"/>
            <ac:spMk id="2" creationId="{00000000-0000-0000-0000-000000000000}"/>
          </ac:spMkLst>
        </pc:spChg>
        <pc:spChg chg="del">
          <ac:chgData name="Isabel Rose Gippo" userId="S::irg9370@ads.northwestern.edu::b10bfe7e-55b9-46dd-9add-2eb52cb66d3b" providerId="AD" clId="Web-{DC570ED0-804E-A0E2-5D93-D510896DFB64}" dt="2023-10-24T13:23:17.877" v="2"/>
          <ac:spMkLst>
            <pc:docMk/>
            <pc:sldMk cId="3090389772" sldId="568"/>
            <ac:spMk id="3" creationId="{00000000-0000-0000-0000-000000000000}"/>
          </ac:spMkLst>
        </pc:spChg>
        <pc:spChg chg="add del mod">
          <ac:chgData name="Isabel Rose Gippo" userId="S::irg9370@ads.northwestern.edu::b10bfe7e-55b9-46dd-9add-2eb52cb66d3b" providerId="AD" clId="Web-{DC570ED0-804E-A0E2-5D93-D510896DFB64}" dt="2023-10-24T13:29:49.501" v="23"/>
          <ac:spMkLst>
            <pc:docMk/>
            <pc:sldMk cId="3090389772" sldId="568"/>
            <ac:spMk id="6" creationId="{595990F9-94FA-9087-B8D0-01F767817104}"/>
          </ac:spMkLst>
        </pc:spChg>
        <pc:spChg chg="add del mod">
          <ac:chgData name="Isabel Rose Gippo" userId="S::irg9370@ads.northwestern.edu::b10bfe7e-55b9-46dd-9add-2eb52cb66d3b" providerId="AD" clId="Web-{DC570ED0-804E-A0E2-5D93-D510896DFB64}" dt="2023-10-24T13:32:00.913" v="82"/>
          <ac:spMkLst>
            <pc:docMk/>
            <pc:sldMk cId="3090389772" sldId="568"/>
            <ac:spMk id="8" creationId="{4B95CBD6-6501-8155-A01B-E05B42CCEA51}"/>
          </ac:spMkLst>
        </pc:spChg>
        <pc:spChg chg="add del mod">
          <ac:chgData name="Isabel Rose Gippo" userId="S::irg9370@ads.northwestern.edu::b10bfe7e-55b9-46dd-9add-2eb52cb66d3b" providerId="AD" clId="Web-{DC570ED0-804E-A0E2-5D93-D510896DFB64}" dt="2023-10-24T13:32:07.725" v="84"/>
          <ac:spMkLst>
            <pc:docMk/>
            <pc:sldMk cId="3090389772" sldId="568"/>
            <ac:spMk id="10" creationId="{F8479F00-3CC7-E2BA-FDD4-47B34220F1E9}"/>
          </ac:spMkLst>
        </pc:spChg>
        <pc:spChg chg="add mod">
          <ac:chgData name="Isabel Rose Gippo" userId="S::irg9370@ads.northwestern.edu::b10bfe7e-55b9-46dd-9add-2eb52cb66d3b" providerId="AD" clId="Web-{DC570ED0-804E-A0E2-5D93-D510896DFB64}" dt="2023-10-24T13:41:13.449" v="218" actId="1076"/>
          <ac:spMkLst>
            <pc:docMk/>
            <pc:sldMk cId="3090389772" sldId="568"/>
            <ac:spMk id="11" creationId="{13896302-555C-1A80-C459-6D1ACE663F72}"/>
          </ac:spMkLst>
        </pc:spChg>
        <pc:spChg chg="add mod">
          <ac:chgData name="Isabel Rose Gippo" userId="S::irg9370@ads.northwestern.edu::b10bfe7e-55b9-46dd-9add-2eb52cb66d3b" providerId="AD" clId="Web-{DC570ED0-804E-A0E2-5D93-D510896DFB64}" dt="2023-10-24T13:50:14.611" v="310"/>
          <ac:spMkLst>
            <pc:docMk/>
            <pc:sldMk cId="3090389772" sldId="568"/>
            <ac:spMk id="15" creationId="{CA00A902-9377-5B4A-9651-129D059BB685}"/>
          </ac:spMkLst>
        </pc:spChg>
        <pc:spChg chg="add mod">
          <ac:chgData name="Isabel Rose Gippo" userId="S::irg9370@ads.northwestern.edu::b10bfe7e-55b9-46dd-9add-2eb52cb66d3b" providerId="AD" clId="Web-{DC570ED0-804E-A0E2-5D93-D510896DFB64}" dt="2023-10-24T13:50:23.752" v="311" actId="1076"/>
          <ac:spMkLst>
            <pc:docMk/>
            <pc:sldMk cId="3090389772" sldId="568"/>
            <ac:spMk id="17" creationId="{C4FB321D-7C09-3587-1451-1763097B5C30}"/>
          </ac:spMkLst>
        </pc:spChg>
        <pc:spChg chg="add mod">
          <ac:chgData name="Isabel Rose Gippo" userId="S::irg9370@ads.northwestern.edu::b10bfe7e-55b9-46dd-9add-2eb52cb66d3b" providerId="AD" clId="Web-{DC570ED0-804E-A0E2-5D93-D510896DFB64}" dt="2023-10-24T13:50:42.643" v="314" actId="20577"/>
          <ac:spMkLst>
            <pc:docMk/>
            <pc:sldMk cId="3090389772" sldId="568"/>
            <ac:spMk id="19" creationId="{F49C1F1A-614A-5749-1A3F-78980B65ADBC}"/>
          </ac:spMkLst>
        </pc:spChg>
        <pc:spChg chg="mod">
          <ac:chgData name="Isabel Rose Gippo" userId="S::irg9370@ads.northwestern.edu::b10bfe7e-55b9-46dd-9add-2eb52cb66d3b" providerId="AD" clId="Web-{DC570ED0-804E-A0E2-5D93-D510896DFB64}" dt="2023-10-24T13:43:41.971" v="242" actId="20577"/>
          <ac:spMkLst>
            <pc:docMk/>
            <pc:sldMk cId="3090389772" sldId="568"/>
            <ac:spMk id="16386" creationId="{00000000-0000-0000-0000-000000000000}"/>
          </ac:spMkLst>
        </pc:spChg>
        <pc:spChg chg="del mod">
          <ac:chgData name="Isabel Rose Gippo" userId="S::irg9370@ads.northwestern.edu::b10bfe7e-55b9-46dd-9add-2eb52cb66d3b" providerId="AD" clId="Web-{DC570ED0-804E-A0E2-5D93-D510896DFB64}" dt="2023-10-24T13:29:24.219" v="18"/>
          <ac:spMkLst>
            <pc:docMk/>
            <pc:sldMk cId="3090389772" sldId="568"/>
            <ac:spMk id="16387" creationId="{00000000-0000-0000-0000-000000000000}"/>
          </ac:spMkLst>
        </pc:spChg>
        <pc:picChg chg="add del mod modCrop">
          <ac:chgData name="Isabel Rose Gippo" userId="S::irg9370@ads.northwestern.edu::b10bfe7e-55b9-46dd-9add-2eb52cb66d3b" providerId="AD" clId="Web-{DC570ED0-804E-A0E2-5D93-D510896DFB64}" dt="2023-10-24T13:36:48.470" v="138"/>
          <ac:picMkLst>
            <pc:docMk/>
            <pc:sldMk cId="3090389772" sldId="568"/>
            <ac:picMk id="4" creationId="{7C4A6C95-34AE-C8E6-1DCF-F6079B87A6AC}"/>
          </ac:picMkLst>
        </pc:picChg>
        <pc:picChg chg="add del mod ord">
          <ac:chgData name="Isabel Rose Gippo" userId="S::irg9370@ads.northwestern.edu::b10bfe7e-55b9-46dd-9add-2eb52cb66d3b" providerId="AD" clId="Web-{DC570ED0-804E-A0E2-5D93-D510896DFB64}" dt="2023-10-24T13:37:31.425" v="146"/>
          <ac:picMkLst>
            <pc:docMk/>
            <pc:sldMk cId="3090389772" sldId="568"/>
            <ac:picMk id="12" creationId="{1157BB9A-851C-C255-0310-D42AC336B66F}"/>
          </ac:picMkLst>
        </pc:picChg>
        <pc:picChg chg="add del mod">
          <ac:chgData name="Isabel Rose Gippo" userId="S::irg9370@ads.northwestern.edu::b10bfe7e-55b9-46dd-9add-2eb52cb66d3b" providerId="AD" clId="Web-{DC570ED0-804E-A0E2-5D93-D510896DFB64}" dt="2023-10-24T13:40:56.449" v="211"/>
          <ac:picMkLst>
            <pc:docMk/>
            <pc:sldMk cId="3090389772" sldId="568"/>
            <ac:picMk id="13" creationId="{80A9386E-A3C6-98A2-026F-0D769C360E01}"/>
          </ac:picMkLst>
        </pc:picChg>
        <pc:picChg chg="add mod ord">
          <ac:chgData name="Isabel Rose Gippo" userId="S::irg9370@ads.northwestern.edu::b10bfe7e-55b9-46dd-9add-2eb52cb66d3b" providerId="AD" clId="Web-{DC570ED0-804E-A0E2-5D93-D510896DFB64}" dt="2023-10-24T13:49:48.203" v="305" actId="1076"/>
          <ac:picMkLst>
            <pc:docMk/>
            <pc:sldMk cId="3090389772" sldId="568"/>
            <ac:picMk id="14" creationId="{557B5DD0-CAF3-34F4-E916-20658CE8833E}"/>
          </ac:picMkLst>
        </pc:picChg>
        <pc:picChg chg="add mod">
          <ac:chgData name="Isabel Rose Gippo" userId="S::irg9370@ads.northwestern.edu::b10bfe7e-55b9-46dd-9add-2eb52cb66d3b" providerId="AD" clId="Web-{DC570ED0-804E-A0E2-5D93-D510896DFB64}" dt="2023-10-24T13:41:06.387" v="215" actId="14100"/>
          <ac:picMkLst>
            <pc:docMk/>
            <pc:sldMk cId="3090389772" sldId="568"/>
            <ac:picMk id="16" creationId="{EFDCBE94-658B-EA5C-C848-56FA88C493AB}"/>
          </ac:picMkLst>
        </pc:picChg>
        <pc:picChg chg="add del mod">
          <ac:chgData name="Isabel Rose Gippo" userId="S::irg9370@ads.northwestern.edu::b10bfe7e-55b9-46dd-9add-2eb52cb66d3b" providerId="AD" clId="Web-{DC570ED0-804E-A0E2-5D93-D510896DFB64}" dt="2023-10-24T13:46:05.070" v="270"/>
          <ac:picMkLst>
            <pc:docMk/>
            <pc:sldMk cId="3090389772" sldId="568"/>
            <ac:picMk id="18" creationId="{45BD3714-27F2-FE16-2BFB-D745A0BC2166}"/>
          </ac:picMkLst>
        </pc:picChg>
        <pc:picChg chg="add del mod">
          <ac:chgData name="Isabel Rose Gippo" userId="S::irg9370@ads.northwestern.edu::b10bfe7e-55b9-46dd-9add-2eb52cb66d3b" providerId="AD" clId="Web-{DC570ED0-804E-A0E2-5D93-D510896DFB64}" dt="2023-10-24T13:48:36.576" v="287"/>
          <ac:picMkLst>
            <pc:docMk/>
            <pc:sldMk cId="3090389772" sldId="568"/>
            <ac:picMk id="20" creationId="{323A1FF1-1E09-F17F-231B-8C8A872B941D}"/>
          </ac:picMkLst>
        </pc:picChg>
        <pc:picChg chg="add mod">
          <ac:chgData name="Isabel Rose Gippo" userId="S::irg9370@ads.northwestern.edu::b10bfe7e-55b9-46dd-9add-2eb52cb66d3b" providerId="AD" clId="Web-{DC570ED0-804E-A0E2-5D93-D510896DFB64}" dt="2023-10-24T13:49:32.953" v="303" actId="1076"/>
          <ac:picMkLst>
            <pc:docMk/>
            <pc:sldMk cId="3090389772" sldId="568"/>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3:56:07.781" v="380"/>
        <pc:sldMkLst>
          <pc:docMk/>
          <pc:sldMk cId="1088329954" sldId="569"/>
        </pc:sldMkLst>
        <pc:spChg chg="del mod">
          <ac:chgData name="Isabel Rose Gippo" userId="S::irg9370@ads.northwestern.edu::b10bfe7e-55b9-46dd-9add-2eb52cb66d3b" providerId="AD" clId="Web-{DC570ED0-804E-A0E2-5D93-D510896DFB64}" dt="2023-10-24T13:51:45.942" v="335"/>
          <ac:spMkLst>
            <pc:docMk/>
            <pc:sldMk cId="1088329954" sldId="569"/>
            <ac:spMk id="11" creationId="{13896302-555C-1A80-C459-6D1ACE663F72}"/>
          </ac:spMkLst>
        </pc:spChg>
        <pc:spChg chg="del">
          <ac:chgData name="Isabel Rose Gippo" userId="S::irg9370@ads.northwestern.edu::b10bfe7e-55b9-46dd-9add-2eb52cb66d3b" providerId="AD" clId="Web-{DC570ED0-804E-A0E2-5D93-D510896DFB64}" dt="2023-10-24T13:51:39.333" v="332"/>
          <ac:spMkLst>
            <pc:docMk/>
            <pc:sldMk cId="1088329954" sldId="569"/>
            <ac:spMk id="15" creationId="{CA00A902-9377-5B4A-9651-129D059BB685}"/>
          </ac:spMkLst>
        </pc:spChg>
        <pc:spChg chg="del">
          <ac:chgData name="Isabel Rose Gippo" userId="S::irg9370@ads.northwestern.edu::b10bfe7e-55b9-46dd-9add-2eb52cb66d3b" providerId="AD" clId="Web-{DC570ED0-804E-A0E2-5D93-D510896DFB64}" dt="2023-10-24T13:51:29.442" v="329"/>
          <ac:spMkLst>
            <pc:docMk/>
            <pc:sldMk cId="1088329954" sldId="569"/>
            <ac:spMk id="17" creationId="{C4FB321D-7C09-3587-1451-1763097B5C30}"/>
          </ac:spMkLst>
        </pc:spChg>
        <pc:spChg chg="add del mod">
          <ac:chgData name="Isabel Rose Gippo" userId="S::irg9370@ads.northwestern.edu::b10bfe7e-55b9-46dd-9add-2eb52cb66d3b" providerId="AD" clId="Web-{DC570ED0-804E-A0E2-5D93-D510896DFB64}" dt="2023-10-24T13:55:21.716" v="376" actId="1076"/>
          <ac:spMkLst>
            <pc:docMk/>
            <pc:sldMk cId="1088329954" sldId="569"/>
            <ac:spMk id="19" creationId="{F49C1F1A-614A-5749-1A3F-78980B65ADBC}"/>
          </ac:spMkLst>
        </pc:spChg>
        <pc:spChg chg="mod">
          <ac:chgData name="Isabel Rose Gippo" userId="S::irg9370@ads.northwestern.edu::b10bfe7e-55b9-46dd-9add-2eb52cb66d3b" providerId="AD" clId="Web-{DC570ED0-804E-A0E2-5D93-D510896DFB64}" dt="2023-10-24T13:53:46.478" v="349" actId="20577"/>
          <ac:spMkLst>
            <pc:docMk/>
            <pc:sldMk cId="1088329954" sldId="569"/>
            <ac:spMk id="16386" creationId="{00000000-0000-0000-0000-000000000000}"/>
          </ac:spMkLst>
        </pc:spChg>
        <pc:picChg chg="add mod">
          <ac:chgData name="Isabel Rose Gippo" userId="S::irg9370@ads.northwestern.edu::b10bfe7e-55b9-46dd-9add-2eb52cb66d3b" providerId="AD" clId="Web-{DC570ED0-804E-A0E2-5D93-D510896DFB64}" dt="2023-10-24T13:56:07.781" v="380"/>
          <ac:picMkLst>
            <pc:docMk/>
            <pc:sldMk cId="1088329954" sldId="569"/>
            <ac:picMk id="2" creationId="{7088B35E-417D-2903-C144-75276D9E0FF3}"/>
          </ac:picMkLst>
        </pc:picChg>
        <pc:picChg chg="del">
          <ac:chgData name="Isabel Rose Gippo" userId="S::irg9370@ads.northwestern.edu::b10bfe7e-55b9-46dd-9add-2eb52cb66d3b" providerId="AD" clId="Web-{DC570ED0-804E-A0E2-5D93-D510896DFB64}" dt="2023-10-24T13:51:40.223" v="333"/>
          <ac:picMkLst>
            <pc:docMk/>
            <pc:sldMk cId="1088329954" sldId="569"/>
            <ac:picMk id="14" creationId="{557B5DD0-CAF3-34F4-E916-20658CE8833E}"/>
          </ac:picMkLst>
        </pc:picChg>
        <pc:picChg chg="del">
          <ac:chgData name="Isabel Rose Gippo" userId="S::irg9370@ads.northwestern.edu::b10bfe7e-55b9-46dd-9add-2eb52cb66d3b" providerId="AD" clId="Web-{DC570ED0-804E-A0E2-5D93-D510896DFB64}" dt="2023-10-24T13:51:37.551" v="331"/>
          <ac:picMkLst>
            <pc:docMk/>
            <pc:sldMk cId="1088329954" sldId="569"/>
            <ac:picMk id="16" creationId="{EFDCBE94-658B-EA5C-C848-56FA88C493AB}"/>
          </ac:picMkLst>
        </pc:picChg>
        <pc:picChg chg="del">
          <ac:chgData name="Isabel Rose Gippo" userId="S::irg9370@ads.northwestern.edu::b10bfe7e-55b9-46dd-9add-2eb52cb66d3b" providerId="AD" clId="Web-{DC570ED0-804E-A0E2-5D93-D510896DFB64}" dt="2023-10-24T13:51:27.457" v="328"/>
          <ac:picMkLst>
            <pc:docMk/>
            <pc:sldMk cId="1088329954" sldId="569"/>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4:25:12.957" v="624"/>
        <pc:sldMkLst>
          <pc:docMk/>
          <pc:sldMk cId="2849312483" sldId="570"/>
        </pc:sldMkLst>
        <pc:spChg chg="add mod">
          <ac:chgData name="Isabel Rose Gippo" userId="S::irg9370@ads.northwestern.edu::b10bfe7e-55b9-46dd-9add-2eb52cb66d3b" providerId="AD" clId="Web-{DC570ED0-804E-A0E2-5D93-D510896DFB64}" dt="2023-10-24T14:23:31.594" v="621" actId="1076"/>
          <ac:spMkLst>
            <pc:docMk/>
            <pc:sldMk cId="2849312483" sldId="570"/>
            <ac:spMk id="4" creationId="{EA09FBC4-EFF6-9AB4-25A1-D6ED252CED0D}"/>
          </ac:spMkLst>
        </pc:spChg>
        <pc:spChg chg="add mod">
          <ac:chgData name="Isabel Rose Gippo" userId="S::irg9370@ads.northwestern.edu::b10bfe7e-55b9-46dd-9add-2eb52cb66d3b" providerId="AD" clId="Web-{DC570ED0-804E-A0E2-5D93-D510896DFB64}" dt="2023-10-24T14:08:31.356" v="552" actId="1076"/>
          <ac:spMkLst>
            <pc:docMk/>
            <pc:sldMk cId="2849312483" sldId="570"/>
            <ac:spMk id="5" creationId="{E069BE35-38BF-B866-0B62-A243ACB6F110}"/>
          </ac:spMkLst>
        </pc:spChg>
        <pc:spChg chg="add mod">
          <ac:chgData name="Isabel Rose Gippo" userId="S::irg9370@ads.northwestern.edu::b10bfe7e-55b9-46dd-9add-2eb52cb66d3b" providerId="AD" clId="Web-{DC570ED0-804E-A0E2-5D93-D510896DFB64}" dt="2023-10-24T14:08:28.387" v="551" actId="1076"/>
          <ac:spMkLst>
            <pc:docMk/>
            <pc:sldMk cId="2849312483" sldId="570"/>
            <ac:spMk id="6" creationId="{137890F0-FB58-2F7F-C68D-9B504512854C}"/>
          </ac:spMkLst>
        </pc:spChg>
        <pc:spChg chg="add mod">
          <ac:chgData name="Isabel Rose Gippo" userId="S::irg9370@ads.northwestern.edu::b10bfe7e-55b9-46dd-9add-2eb52cb66d3b" providerId="AD" clId="Web-{DC570ED0-804E-A0E2-5D93-D510896DFB64}" dt="2023-10-24T14:08:47.263" v="558" actId="1076"/>
          <ac:spMkLst>
            <pc:docMk/>
            <pc:sldMk cId="2849312483" sldId="570"/>
            <ac:spMk id="7" creationId="{1F35585C-3549-CE9C-A34A-3452229F6833}"/>
          </ac:spMkLst>
        </pc:spChg>
        <pc:spChg chg="add mod">
          <ac:chgData name="Isabel Rose Gippo" userId="S::irg9370@ads.northwestern.edu::b10bfe7e-55b9-46dd-9add-2eb52cb66d3b" providerId="AD" clId="Web-{DC570ED0-804E-A0E2-5D93-D510896DFB64}" dt="2023-10-24T14:08:53.263" v="560" actId="1076"/>
          <ac:spMkLst>
            <pc:docMk/>
            <pc:sldMk cId="2849312483" sldId="570"/>
            <ac:spMk id="9" creationId="{9BD0DB87-BFB9-248F-9187-16322CEC9C89}"/>
          </ac:spMkLst>
        </pc:spChg>
        <pc:spChg chg="add mod">
          <ac:chgData name="Isabel Rose Gippo" userId="S::irg9370@ads.northwestern.edu::b10bfe7e-55b9-46dd-9add-2eb52cb66d3b" providerId="AD" clId="Web-{DC570ED0-804E-A0E2-5D93-D510896DFB64}" dt="2023-10-24T14:09:06.264" v="565" actId="1076"/>
          <ac:spMkLst>
            <pc:docMk/>
            <pc:sldMk cId="2849312483" sldId="570"/>
            <ac:spMk id="10" creationId="{C8307CA0-040F-CDB1-5F4D-16A04C6E74DF}"/>
          </ac:spMkLst>
        </pc:spChg>
        <pc:spChg chg="del mod">
          <ac:chgData name="Isabel Rose Gippo" userId="S::irg9370@ads.northwestern.edu::b10bfe7e-55b9-46dd-9add-2eb52cb66d3b" providerId="AD" clId="Web-{DC570ED0-804E-A0E2-5D93-D510896DFB64}" dt="2023-10-24T13:58:55.912" v="410"/>
          <ac:spMkLst>
            <pc:docMk/>
            <pc:sldMk cId="2849312483" sldId="570"/>
            <ac:spMk id="19" creationId="{F49C1F1A-614A-5749-1A3F-78980B65ADBC}"/>
          </ac:spMkLst>
        </pc:spChg>
        <pc:spChg chg="mod">
          <ac:chgData name="Isabel Rose Gippo" userId="S::irg9370@ads.northwestern.edu::b10bfe7e-55b9-46dd-9add-2eb52cb66d3b" providerId="AD" clId="Web-{DC570ED0-804E-A0E2-5D93-D510896DFB64}" dt="2023-10-24T13:59:10.163" v="416" actId="14100"/>
          <ac:spMkLst>
            <pc:docMk/>
            <pc:sldMk cId="2849312483" sldId="570"/>
            <ac:spMk id="16386" creationId="{00000000-0000-0000-0000-000000000000}"/>
          </ac:spMkLst>
        </pc:spChg>
        <pc:picChg chg="del">
          <ac:chgData name="Isabel Rose Gippo" userId="S::irg9370@ads.northwestern.edu::b10bfe7e-55b9-46dd-9add-2eb52cb66d3b" providerId="AD" clId="Web-{DC570ED0-804E-A0E2-5D93-D510896DFB64}" dt="2023-10-24T13:56:26.938" v="382"/>
          <ac:picMkLst>
            <pc:docMk/>
            <pc:sldMk cId="2849312483" sldId="570"/>
            <ac:picMk id="2" creationId="{7088B35E-417D-2903-C144-75276D9E0FF3}"/>
          </ac:picMkLst>
        </pc:picChg>
        <pc:picChg chg="add del mod">
          <ac:chgData name="Isabel Rose Gippo" userId="S::irg9370@ads.northwestern.edu::b10bfe7e-55b9-46dd-9add-2eb52cb66d3b" providerId="AD" clId="Web-{DC570ED0-804E-A0E2-5D93-D510896DFB64}" dt="2023-10-24T14:01:02.948" v="468"/>
          <ac:picMkLst>
            <pc:docMk/>
            <pc:sldMk cId="2849312483" sldId="570"/>
            <ac:picMk id="3" creationId="{60CCB867-B87F-D599-0728-D3845AEE0902}"/>
          </ac:picMkLst>
        </pc:picChg>
        <pc:picChg chg="add mod">
          <ac:chgData name="Isabel Rose Gippo" userId="S::irg9370@ads.northwestern.edu::b10bfe7e-55b9-46dd-9add-2eb52cb66d3b" providerId="AD" clId="Web-{DC570ED0-804E-A0E2-5D93-D510896DFB64}" dt="2023-10-24T14:08:44.372" v="557" actId="1076"/>
          <ac:picMkLst>
            <pc:docMk/>
            <pc:sldMk cId="2849312483" sldId="570"/>
            <ac:picMk id="8" creationId="{59E0F2EE-E480-541D-E8E7-5C865B35C88F}"/>
          </ac:picMkLst>
        </pc:picChg>
        <pc:picChg chg="add del mod">
          <ac:chgData name="Isabel Rose Gippo" userId="S::irg9370@ads.northwestern.edu::b10bfe7e-55b9-46dd-9add-2eb52cb66d3b" providerId="AD" clId="Web-{DC570ED0-804E-A0E2-5D93-D510896DFB64}" dt="2023-10-24T14:22:57.108" v="581"/>
          <ac:picMkLst>
            <pc:docMk/>
            <pc:sldMk cId="2849312483" sldId="570"/>
            <ac:picMk id="11" creationId="{3B324708-4939-E4F4-BA17-AB8F89FD8F8A}"/>
          </ac:picMkLst>
        </pc:picChg>
        <pc:picChg chg="add del mod">
          <ac:chgData name="Isabel Rose Gippo" userId="S::irg9370@ads.northwestern.edu::b10bfe7e-55b9-46dd-9add-2eb52cb66d3b" providerId="AD" clId="Web-{DC570ED0-804E-A0E2-5D93-D510896DFB64}" dt="2023-10-24T14:24:02.657" v="623"/>
          <ac:picMkLst>
            <pc:docMk/>
            <pc:sldMk cId="2849312483" sldId="570"/>
            <ac:picMk id="12" creationId="{9F0EA567-DB06-4C7E-2FD2-D021E131A108}"/>
          </ac:picMkLst>
        </pc:picChg>
        <pc:picChg chg="add mod">
          <ac:chgData name="Isabel Rose Gippo" userId="S::irg9370@ads.northwestern.edu::b10bfe7e-55b9-46dd-9add-2eb52cb66d3b" providerId="AD" clId="Web-{DC570ED0-804E-A0E2-5D93-D510896DFB64}" dt="2023-10-24T14:25:12.957" v="624"/>
          <ac:picMkLst>
            <pc:docMk/>
            <pc:sldMk cId="2849312483" sldId="570"/>
            <ac:picMk id="13" creationId="{03BF52CD-31EC-FC46-9A7F-3B257CCAC6A4}"/>
          </ac:picMkLst>
        </pc:picChg>
      </pc:sldChg>
    </pc:docChg>
  </pc:docChgLst>
  <pc:docChgLst>
    <pc:chgData name="Isabel Rose Gippo" userId="S::irg9370@ads.northwestern.edu::b10bfe7e-55b9-46dd-9add-2eb52cb66d3b" providerId="AD" clId="Web-{2F9B0802-2085-E0B0-3887-F6AEBA41C785}"/>
    <pc:docChg chg="addSld delSld modSld">
      <pc:chgData name="Isabel Rose Gippo" userId="S::irg9370@ads.northwestern.edu::b10bfe7e-55b9-46dd-9add-2eb52cb66d3b" providerId="AD" clId="Web-{2F9B0802-2085-E0B0-3887-F6AEBA41C785}" dt="2023-10-27T20:01:53.166" v="22" actId="1076"/>
      <pc:docMkLst>
        <pc:docMk/>
      </pc:docMkLst>
      <pc:sldChg chg="del">
        <pc:chgData name="Isabel Rose Gippo" userId="S::irg9370@ads.northwestern.edu::b10bfe7e-55b9-46dd-9add-2eb52cb66d3b" providerId="AD" clId="Web-{2F9B0802-2085-E0B0-3887-F6AEBA41C785}" dt="2023-10-27T19:58:33.365" v="0"/>
        <pc:sldMkLst>
          <pc:docMk/>
          <pc:sldMk cId="4102962722" sldId="592"/>
        </pc:sldMkLst>
      </pc:sldChg>
      <pc:sldChg chg="del">
        <pc:chgData name="Isabel Rose Gippo" userId="S::irg9370@ads.northwestern.edu::b10bfe7e-55b9-46dd-9add-2eb52cb66d3b" providerId="AD" clId="Web-{2F9B0802-2085-E0B0-3887-F6AEBA41C785}" dt="2023-10-27T20:00:46.790" v="13"/>
        <pc:sldMkLst>
          <pc:docMk/>
          <pc:sldMk cId="761656701" sldId="610"/>
        </pc:sldMkLst>
      </pc:sldChg>
      <pc:sldChg chg="del">
        <pc:chgData name="Isabel Rose Gippo" userId="S::irg9370@ads.northwestern.edu::b10bfe7e-55b9-46dd-9add-2eb52cb66d3b" providerId="AD" clId="Web-{2F9B0802-2085-E0B0-3887-F6AEBA41C785}" dt="2023-10-27T20:00:36.336" v="12"/>
        <pc:sldMkLst>
          <pc:docMk/>
          <pc:sldMk cId="2881039477" sldId="611"/>
        </pc:sldMkLst>
      </pc:sldChg>
      <pc:sldChg chg="del">
        <pc:chgData name="Isabel Rose Gippo" userId="S::irg9370@ads.northwestern.edu::b10bfe7e-55b9-46dd-9add-2eb52cb66d3b" providerId="AD" clId="Web-{2F9B0802-2085-E0B0-3887-F6AEBA41C785}" dt="2023-10-27T20:00:36.321" v="11"/>
        <pc:sldMkLst>
          <pc:docMk/>
          <pc:sldMk cId="2453854057" sldId="612"/>
        </pc:sldMkLst>
      </pc:sldChg>
      <pc:sldChg chg="del">
        <pc:chgData name="Isabel Rose Gippo" userId="S::irg9370@ads.northwestern.edu::b10bfe7e-55b9-46dd-9add-2eb52cb66d3b" providerId="AD" clId="Web-{2F9B0802-2085-E0B0-3887-F6AEBA41C785}" dt="2023-10-27T20:00:36.258" v="10"/>
        <pc:sldMkLst>
          <pc:docMk/>
          <pc:sldMk cId="2100949110" sldId="613"/>
        </pc:sldMkLst>
      </pc:sldChg>
      <pc:sldChg chg="del">
        <pc:chgData name="Isabel Rose Gippo" userId="S::irg9370@ads.northwestern.edu::b10bfe7e-55b9-46dd-9add-2eb52cb66d3b" providerId="AD" clId="Web-{2F9B0802-2085-E0B0-3887-F6AEBA41C785}" dt="2023-10-27T20:00:36.133" v="9"/>
        <pc:sldMkLst>
          <pc:docMk/>
          <pc:sldMk cId="2272124241" sldId="614"/>
        </pc:sldMkLst>
      </pc:sldChg>
      <pc:sldChg chg="add">
        <pc:chgData name="Isabel Rose Gippo" userId="S::irg9370@ads.northwestern.edu::b10bfe7e-55b9-46dd-9add-2eb52cb66d3b" providerId="AD" clId="Web-{2F9B0802-2085-E0B0-3887-F6AEBA41C785}" dt="2023-10-27T19:59:03.818" v="1"/>
        <pc:sldMkLst>
          <pc:docMk/>
          <pc:sldMk cId="1987746666" sldId="623"/>
        </pc:sldMkLst>
      </pc:sldChg>
      <pc:sldChg chg="add addCm">
        <pc:chgData name="Isabel Rose Gippo" userId="S::irg9370@ads.northwestern.edu::b10bfe7e-55b9-46dd-9add-2eb52cb66d3b" providerId="AD" clId="Web-{2F9B0802-2085-E0B0-3887-F6AEBA41C785}" dt="2023-10-27T19:59:45.241" v="4"/>
        <pc:sldMkLst>
          <pc:docMk/>
          <pc:sldMk cId="2500564114" sldId="62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19:59:45.241" v="4"/>
              <pc2:cmMkLst xmlns:pc2="http://schemas.microsoft.com/office/powerpoint/2019/9/main/command">
                <pc:docMk/>
                <pc:sldMk cId="2500564114" sldId="624"/>
                <pc2:cmMk id="{0491C656-E5F5-41C8-B311-8559AF33E6F6}"/>
              </pc2:cmMkLst>
            </pc226:cmChg>
          </p:ext>
        </pc:extLst>
      </pc:sldChg>
      <pc:sldChg chg="add">
        <pc:chgData name="Isabel Rose Gippo" userId="S::irg9370@ads.northwestern.edu::b10bfe7e-55b9-46dd-9add-2eb52cb66d3b" providerId="AD" clId="Web-{2F9B0802-2085-E0B0-3887-F6AEBA41C785}" dt="2023-10-27T19:59:05.678" v="3"/>
        <pc:sldMkLst>
          <pc:docMk/>
          <pc:sldMk cId="924990962" sldId="625"/>
        </pc:sldMkLst>
      </pc:sldChg>
      <pc:sldChg chg="add">
        <pc:chgData name="Isabel Rose Gippo" userId="S::irg9370@ads.northwestern.edu::b10bfe7e-55b9-46dd-9add-2eb52cb66d3b" providerId="AD" clId="Web-{2F9B0802-2085-E0B0-3887-F6AEBA41C785}" dt="2023-10-27T20:00:14.758" v="5"/>
        <pc:sldMkLst>
          <pc:docMk/>
          <pc:sldMk cId="3004443360" sldId="626"/>
        </pc:sldMkLst>
      </pc:sldChg>
      <pc:sldChg chg="add addCm modNotes">
        <pc:chgData name="Isabel Rose Gippo" userId="S::irg9370@ads.northwestern.edu::b10bfe7e-55b9-46dd-9add-2eb52cb66d3b" providerId="AD" clId="Web-{2F9B0802-2085-E0B0-3887-F6AEBA41C785}" dt="2023-10-27T20:01:37.572" v="21"/>
        <pc:sldMkLst>
          <pc:docMk/>
          <pc:sldMk cId="53107998" sldId="627"/>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26.853" v="20"/>
              <pc2:cmMkLst xmlns:pc2="http://schemas.microsoft.com/office/powerpoint/2019/9/main/command">
                <pc:docMk/>
                <pc:sldMk cId="53107998" sldId="627"/>
                <pc2:cmMk id="{C48A6C56-B343-467E-9FD1-86B163B01706}"/>
              </pc2:cmMkLst>
            </pc226:cmChg>
            <pc226:cmChg xmlns:pc226="http://schemas.microsoft.com/office/powerpoint/2022/06/main/command" chg="add">
              <pc226:chgData name="Isabel Rose Gippo" userId="S::irg9370@ads.northwestern.edu::b10bfe7e-55b9-46dd-9add-2eb52cb66d3b" providerId="AD" clId="Web-{2F9B0802-2085-E0B0-3887-F6AEBA41C785}" dt="2023-10-27T20:01:37.572" v="21"/>
              <pc2:cmMkLst xmlns:pc2="http://schemas.microsoft.com/office/powerpoint/2019/9/main/command">
                <pc:docMk/>
                <pc:sldMk cId="53107998" sldId="627"/>
                <pc2:cmMk id="{46D04177-1E1A-4590-B3B8-03DE51A18B3C}"/>
              </pc2:cmMkLst>
            </pc226:cmChg>
          </p:ext>
        </pc:extLst>
      </pc:sldChg>
      <pc:sldChg chg="add addCm">
        <pc:chgData name="Isabel Rose Gippo" userId="S::irg9370@ads.northwestern.edu::b10bfe7e-55b9-46dd-9add-2eb52cb66d3b" providerId="AD" clId="Web-{2F9B0802-2085-E0B0-3887-F6AEBA41C785}" dt="2023-10-27T20:01:16.493" v="18"/>
        <pc:sldMkLst>
          <pc:docMk/>
          <pc:sldMk cId="534784336" sldId="62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16.493" v="18"/>
              <pc2:cmMkLst xmlns:pc2="http://schemas.microsoft.com/office/powerpoint/2019/9/main/command">
                <pc:docMk/>
                <pc:sldMk cId="534784336" sldId="628"/>
                <pc2:cmMk id="{D2FD4193-EF38-49C6-9875-8E415492E71E}"/>
              </pc2:cmMkLst>
            </pc226:cmChg>
          </p:ext>
        </pc:extLst>
      </pc:sldChg>
      <pc:sldChg chg="modSp add modNotes">
        <pc:chgData name="Isabel Rose Gippo" userId="S::irg9370@ads.northwestern.edu::b10bfe7e-55b9-46dd-9add-2eb52cb66d3b" providerId="AD" clId="Web-{2F9B0802-2085-E0B0-3887-F6AEBA41C785}" dt="2023-10-27T20:01:53.166" v="22" actId="1076"/>
        <pc:sldMkLst>
          <pc:docMk/>
          <pc:sldMk cId="2981412015" sldId="629"/>
        </pc:sldMkLst>
        <pc:spChg chg="mod">
          <ac:chgData name="Isabel Rose Gippo" userId="S::irg9370@ads.northwestern.edu::b10bfe7e-55b9-46dd-9add-2eb52cb66d3b" providerId="AD" clId="Web-{2F9B0802-2085-E0B0-3887-F6AEBA41C785}" dt="2023-10-27T20:01:53.166" v="22" actId="1076"/>
          <ac:spMkLst>
            <pc:docMk/>
            <pc:sldMk cId="2981412015" sldId="629"/>
            <ac:spMk id="17" creationId="{9F30C5B8-4454-3B8D-2126-4A9866DF704E}"/>
          </ac:spMkLst>
        </pc:spChg>
      </pc:sldChg>
    </pc:docChg>
  </pc:docChgLst>
  <pc:docChgLst>
    <pc:chgData name="Isabel Rose Gippo" userId="S::irg9370@ads.northwestern.edu::b10bfe7e-55b9-46dd-9add-2eb52cb66d3b" providerId="AD" clId="Web-{4159E2D1-1878-F778-C779-F53B58D257B9}"/>
    <pc:docChg chg="addSld delSld modSld">
      <pc:chgData name="Isabel Rose Gippo" userId="S::irg9370@ads.northwestern.edu::b10bfe7e-55b9-46dd-9add-2eb52cb66d3b" providerId="AD" clId="Web-{4159E2D1-1878-F778-C779-F53B58D257B9}" dt="2023-10-27T17:39:04.029" v="47" actId="1076"/>
      <pc:docMkLst>
        <pc:docMk/>
      </pc:docMkLst>
      <pc:sldChg chg="del">
        <pc:chgData name="Isabel Rose Gippo" userId="S::irg9370@ads.northwestern.edu::b10bfe7e-55b9-46dd-9add-2eb52cb66d3b" providerId="AD" clId="Web-{4159E2D1-1878-F778-C779-F53B58D257B9}" dt="2023-10-27T17:35:16.904" v="10"/>
        <pc:sldMkLst>
          <pc:docMk/>
          <pc:sldMk cId="3969440120" sldId="593"/>
        </pc:sldMkLst>
      </pc:sldChg>
      <pc:sldChg chg="del">
        <pc:chgData name="Isabel Rose Gippo" userId="S::irg9370@ads.northwestern.edu::b10bfe7e-55b9-46dd-9add-2eb52cb66d3b" providerId="AD" clId="Web-{4159E2D1-1878-F778-C779-F53B58D257B9}" dt="2023-10-27T17:35:13.185" v="9"/>
        <pc:sldMkLst>
          <pc:docMk/>
          <pc:sldMk cId="2412661198" sldId="594"/>
        </pc:sldMkLst>
      </pc:sldChg>
      <pc:sldChg chg="del">
        <pc:chgData name="Isabel Rose Gippo" userId="S::irg9370@ads.northwestern.edu::b10bfe7e-55b9-46dd-9add-2eb52cb66d3b" providerId="AD" clId="Web-{4159E2D1-1878-F778-C779-F53B58D257B9}" dt="2023-10-27T17:35:10.638" v="8"/>
        <pc:sldMkLst>
          <pc:docMk/>
          <pc:sldMk cId="3516145000" sldId="595"/>
        </pc:sldMkLst>
      </pc:sldChg>
      <pc:sldChg chg="del">
        <pc:chgData name="Isabel Rose Gippo" userId="S::irg9370@ads.northwestern.edu::b10bfe7e-55b9-46dd-9add-2eb52cb66d3b" providerId="AD" clId="Web-{4159E2D1-1878-F778-C779-F53B58D257B9}" dt="2023-10-27T17:35:06.920" v="7"/>
        <pc:sldMkLst>
          <pc:docMk/>
          <pc:sldMk cId="2417460478" sldId="596"/>
        </pc:sldMkLst>
      </pc:sldChg>
      <pc:sldChg chg="modSp add">
        <pc:chgData name="Isabel Rose Gippo" userId="S::irg9370@ads.northwestern.edu::b10bfe7e-55b9-46dd-9add-2eb52cb66d3b" providerId="AD" clId="Web-{4159E2D1-1878-F778-C779-F53B58D257B9}" dt="2023-10-27T17:35:02.779" v="6" actId="14100"/>
        <pc:sldMkLst>
          <pc:docMk/>
          <pc:sldMk cId="2628065282" sldId="597"/>
        </pc:sldMkLst>
        <pc:spChg chg="mod">
          <ac:chgData name="Isabel Rose Gippo" userId="S::irg9370@ads.northwestern.edu::b10bfe7e-55b9-46dd-9add-2eb52cb66d3b" providerId="AD" clId="Web-{4159E2D1-1878-F778-C779-F53B58D257B9}" dt="2023-10-27T17:35:02.779" v="6" actId="14100"/>
          <ac:spMkLst>
            <pc:docMk/>
            <pc:sldMk cId="2628065282" sldId="597"/>
            <ac:spMk id="7" creationId="{D7D575A1-5794-5E5A-2C30-51F659D538FF}"/>
          </ac:spMkLst>
        </pc:spChg>
      </pc:sldChg>
      <pc:sldChg chg="add">
        <pc:chgData name="Isabel Rose Gippo" userId="S::irg9370@ads.northwestern.edu::b10bfe7e-55b9-46dd-9add-2eb52cb66d3b" providerId="AD" clId="Web-{4159E2D1-1878-F778-C779-F53B58D257B9}" dt="2023-10-27T17:34:19.138" v="1"/>
        <pc:sldMkLst>
          <pc:docMk/>
          <pc:sldMk cId="1478149357" sldId="598"/>
        </pc:sldMkLst>
      </pc:sldChg>
      <pc:sldChg chg="add">
        <pc:chgData name="Isabel Rose Gippo" userId="S::irg9370@ads.northwestern.edu::b10bfe7e-55b9-46dd-9add-2eb52cb66d3b" providerId="AD" clId="Web-{4159E2D1-1878-F778-C779-F53B58D257B9}" dt="2023-10-27T17:34:48.717" v="2"/>
        <pc:sldMkLst>
          <pc:docMk/>
          <pc:sldMk cId="2470795492" sldId="599"/>
        </pc:sldMkLst>
      </pc:sldChg>
      <pc:sldChg chg="add">
        <pc:chgData name="Isabel Rose Gippo" userId="S::irg9370@ads.northwestern.edu::b10bfe7e-55b9-46dd-9add-2eb52cb66d3b" providerId="AD" clId="Web-{4159E2D1-1878-F778-C779-F53B58D257B9}" dt="2023-10-27T17:34:49.404" v="3"/>
        <pc:sldMkLst>
          <pc:docMk/>
          <pc:sldMk cId="2592767400" sldId="600"/>
        </pc:sldMkLst>
      </pc:sldChg>
      <pc:sldChg chg="add">
        <pc:chgData name="Isabel Rose Gippo" userId="S::irg9370@ads.northwestern.edu::b10bfe7e-55b9-46dd-9add-2eb52cb66d3b" providerId="AD" clId="Web-{4159E2D1-1878-F778-C779-F53B58D257B9}" dt="2023-10-27T17:34:50.092" v="4"/>
        <pc:sldMkLst>
          <pc:docMk/>
          <pc:sldMk cId="3023536423" sldId="601"/>
        </pc:sldMkLst>
      </pc:sldChg>
      <pc:sldChg chg="add">
        <pc:chgData name="Isabel Rose Gippo" userId="S::irg9370@ads.northwestern.edu::b10bfe7e-55b9-46dd-9add-2eb52cb66d3b" providerId="AD" clId="Web-{4159E2D1-1878-F778-C779-F53B58D257B9}" dt="2023-10-27T17:34:50.779" v="5"/>
        <pc:sldMkLst>
          <pc:docMk/>
          <pc:sldMk cId="1011826885" sldId="602"/>
        </pc:sldMkLst>
      </pc:sldChg>
      <pc:sldChg chg="add">
        <pc:chgData name="Isabel Rose Gippo" userId="S::irg9370@ads.northwestern.edu::b10bfe7e-55b9-46dd-9add-2eb52cb66d3b" providerId="AD" clId="Web-{4159E2D1-1878-F778-C779-F53B58D257B9}" dt="2023-10-27T17:35:26.013" v="11"/>
        <pc:sldMkLst>
          <pc:docMk/>
          <pc:sldMk cId="600547746" sldId="603"/>
        </pc:sldMkLst>
      </pc:sldChg>
      <pc:sldChg chg="add addCm">
        <pc:chgData name="Isabel Rose Gippo" userId="S::irg9370@ads.northwestern.edu::b10bfe7e-55b9-46dd-9add-2eb52cb66d3b" providerId="AD" clId="Web-{4159E2D1-1878-F778-C779-F53B58D257B9}" dt="2023-10-27T17:36:25.967" v="14"/>
        <pc:sldMkLst>
          <pc:docMk/>
          <pc:sldMk cId="3355787309" sldId="60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4159E2D1-1878-F778-C779-F53B58D257B9}" dt="2023-10-27T17:36:25.967" v="14"/>
              <pc2:cmMkLst xmlns:pc2="http://schemas.microsoft.com/office/powerpoint/2019/9/main/command">
                <pc:docMk/>
                <pc:sldMk cId="3355787309" sldId="604"/>
                <pc2:cmMk id="{5635E0A6-AC69-4FB6-B7FE-9DA078BBCAEE}"/>
              </pc2:cmMkLst>
            </pc226:cmChg>
          </p:ext>
        </pc:extLst>
      </pc:sldChg>
      <pc:sldChg chg="add">
        <pc:chgData name="Isabel Rose Gippo" userId="S::irg9370@ads.northwestern.edu::b10bfe7e-55b9-46dd-9add-2eb52cb66d3b" providerId="AD" clId="Web-{4159E2D1-1878-F778-C779-F53B58D257B9}" dt="2023-10-27T17:35:27.435" v="13"/>
        <pc:sldMkLst>
          <pc:docMk/>
          <pc:sldMk cId="1452140663" sldId="605"/>
        </pc:sldMkLst>
      </pc:sldChg>
      <pc:sldChg chg="add">
        <pc:chgData name="Isabel Rose Gippo" userId="S::irg9370@ads.northwestern.edu::b10bfe7e-55b9-46dd-9add-2eb52cb66d3b" providerId="AD" clId="Web-{4159E2D1-1878-F778-C779-F53B58D257B9}" dt="2023-10-27T17:36:48.201" v="15"/>
        <pc:sldMkLst>
          <pc:docMk/>
          <pc:sldMk cId="1937423064" sldId="606"/>
        </pc:sldMkLst>
      </pc:sldChg>
      <pc:sldChg chg="add">
        <pc:chgData name="Isabel Rose Gippo" userId="S::irg9370@ads.northwestern.edu::b10bfe7e-55b9-46dd-9add-2eb52cb66d3b" providerId="AD" clId="Web-{4159E2D1-1878-F778-C779-F53B58D257B9}" dt="2023-10-27T17:36:48.920" v="16"/>
        <pc:sldMkLst>
          <pc:docMk/>
          <pc:sldMk cId="3774016129" sldId="607"/>
        </pc:sldMkLst>
      </pc:sldChg>
      <pc:sldChg chg="add">
        <pc:chgData name="Isabel Rose Gippo" userId="S::irg9370@ads.northwestern.edu::b10bfe7e-55b9-46dd-9add-2eb52cb66d3b" providerId="AD" clId="Web-{4159E2D1-1878-F778-C779-F53B58D257B9}" dt="2023-10-27T17:36:49.623" v="17"/>
        <pc:sldMkLst>
          <pc:docMk/>
          <pc:sldMk cId="3226012611" sldId="608"/>
        </pc:sldMkLst>
      </pc:sldChg>
      <pc:sldChg chg="add">
        <pc:chgData name="Isabel Rose Gippo" userId="S::irg9370@ads.northwestern.edu::b10bfe7e-55b9-46dd-9add-2eb52cb66d3b" providerId="AD" clId="Web-{4159E2D1-1878-F778-C779-F53B58D257B9}" dt="2023-10-27T17:36:50.295" v="18"/>
        <pc:sldMkLst>
          <pc:docMk/>
          <pc:sldMk cId="2003568291" sldId="609"/>
        </pc:sldMkLst>
      </pc:sldChg>
      <pc:sldChg chg="add replId modNotes">
        <pc:chgData name="Isabel Rose Gippo" userId="S::irg9370@ads.northwestern.edu::b10bfe7e-55b9-46dd-9add-2eb52cb66d3b" providerId="AD" clId="Web-{4159E2D1-1878-F778-C779-F53B58D257B9}" dt="2023-10-27T17:37:46.435" v="26"/>
        <pc:sldMkLst>
          <pc:docMk/>
          <pc:sldMk cId="761656701" sldId="610"/>
        </pc:sldMkLst>
      </pc:sldChg>
      <pc:sldChg chg="add replId modNotes">
        <pc:chgData name="Isabel Rose Gippo" userId="S::irg9370@ads.northwestern.edu::b10bfe7e-55b9-46dd-9add-2eb52cb66d3b" providerId="AD" clId="Web-{4159E2D1-1878-F778-C779-F53B58D257B9}" dt="2023-10-27T17:38:01.529" v="31"/>
        <pc:sldMkLst>
          <pc:docMk/>
          <pc:sldMk cId="2881039477" sldId="611"/>
        </pc:sldMkLst>
      </pc:sldChg>
      <pc:sldChg chg="new modNotes">
        <pc:chgData name="Isabel Rose Gippo" userId="S::irg9370@ads.northwestern.edu::b10bfe7e-55b9-46dd-9add-2eb52cb66d3b" providerId="AD" clId="Web-{4159E2D1-1878-F778-C779-F53B58D257B9}" dt="2023-10-27T17:38:59.920" v="43"/>
        <pc:sldMkLst>
          <pc:docMk/>
          <pc:sldMk cId="2453854057" sldId="612"/>
        </pc:sldMkLst>
      </pc:sldChg>
      <pc:sldChg chg="new modNotes">
        <pc:chgData name="Isabel Rose Gippo" userId="S::irg9370@ads.northwestern.edu::b10bfe7e-55b9-46dd-9add-2eb52cb66d3b" providerId="AD" clId="Web-{4159E2D1-1878-F778-C779-F53B58D257B9}" dt="2023-10-27T17:38:25.201" v="40"/>
        <pc:sldMkLst>
          <pc:docMk/>
          <pc:sldMk cId="2100949110" sldId="613"/>
        </pc:sldMkLst>
      </pc:sldChg>
      <pc:sldChg chg="modSp new modNotes">
        <pc:chgData name="Isabel Rose Gippo" userId="S::irg9370@ads.northwestern.edu::b10bfe7e-55b9-46dd-9add-2eb52cb66d3b" providerId="AD" clId="Web-{4159E2D1-1878-F778-C779-F53B58D257B9}" dt="2023-10-27T17:39:04.029" v="47" actId="1076"/>
        <pc:sldMkLst>
          <pc:docMk/>
          <pc:sldMk cId="2272124241" sldId="614"/>
        </pc:sldMkLst>
        <pc:spChg chg="mod">
          <ac:chgData name="Isabel Rose Gippo" userId="S::irg9370@ads.northwestern.edu::b10bfe7e-55b9-46dd-9add-2eb52cb66d3b" providerId="AD" clId="Web-{4159E2D1-1878-F778-C779-F53B58D257B9}" dt="2023-10-27T17:39:04.029" v="47" actId="1076"/>
          <ac:spMkLst>
            <pc:docMk/>
            <pc:sldMk cId="2272124241" sldId="614"/>
            <ac:spMk id="5" creationId="{C0418939-1E64-B1E2-A591-B2119343AE0C}"/>
          </ac:spMkLst>
        </pc:spChg>
      </pc:sldChg>
    </pc:docChg>
  </pc:docChgLst>
  <pc:docChgLst>
    <pc:chgData name="Eileen Fleming Suse" userId="S::efs3844@ads.northwestern.edu::725c94ef-d051-42d7-9d33-8572765d592b" providerId="AD" clId="Web-{8544FFE2-8133-585B-66CC-2C8177C23087}"/>
    <pc:docChg chg="addSld delSld modSld sldOrd">
      <pc:chgData name="Eileen Fleming Suse" userId="S::efs3844@ads.northwestern.edu::725c94ef-d051-42d7-9d33-8572765d592b" providerId="AD" clId="Web-{8544FFE2-8133-585B-66CC-2C8177C23087}" dt="2023-11-18T01:37:30.204" v="360"/>
      <pc:docMkLst>
        <pc:docMk/>
      </pc:docMkLst>
      <pc:sldChg chg="modSp">
        <pc:chgData name="Eileen Fleming Suse" userId="S::efs3844@ads.northwestern.edu::725c94ef-d051-42d7-9d33-8572765d592b" providerId="AD" clId="Web-{8544FFE2-8133-585B-66CC-2C8177C23087}" dt="2023-11-17T18:36:52.933" v="30" actId="20577"/>
        <pc:sldMkLst>
          <pc:docMk/>
          <pc:sldMk cId="4044691067" sldId="283"/>
        </pc:sldMkLst>
        <pc:spChg chg="mod">
          <ac:chgData name="Eileen Fleming Suse" userId="S::efs3844@ads.northwestern.edu::725c94ef-d051-42d7-9d33-8572765d592b" providerId="AD" clId="Web-{8544FFE2-8133-585B-66CC-2C8177C23087}" dt="2023-11-17T18:36:52.933" v="30"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8544FFE2-8133-585B-66CC-2C8177C23087}" dt="2023-11-17T18:24:59.947" v="11" actId="20577"/>
        <pc:sldMkLst>
          <pc:docMk/>
          <pc:sldMk cId="1036043289" sldId="546"/>
        </pc:sldMkLst>
        <pc:spChg chg="mod">
          <ac:chgData name="Eileen Fleming Suse" userId="S::efs3844@ads.northwestern.edu::725c94ef-d051-42d7-9d33-8572765d592b" providerId="AD" clId="Web-{8544FFE2-8133-585B-66CC-2C8177C23087}" dt="2023-11-17T18:24:59.947" v="11" actId="20577"/>
          <ac:spMkLst>
            <pc:docMk/>
            <pc:sldMk cId="1036043289" sldId="546"/>
            <ac:spMk id="2" creationId="{67E16CF5-47C8-BEAD-25F8-81514DC0AF8B}"/>
          </ac:spMkLst>
        </pc:spChg>
      </pc:sldChg>
      <pc:sldChg chg="modSp">
        <pc:chgData name="Eileen Fleming Suse" userId="S::efs3844@ads.northwestern.edu::725c94ef-d051-42d7-9d33-8572765d592b" providerId="AD" clId="Web-{8544FFE2-8133-585B-66CC-2C8177C23087}" dt="2023-11-17T20:47:30.318" v="211" actId="20577"/>
        <pc:sldMkLst>
          <pc:docMk/>
          <pc:sldMk cId="714682852" sldId="552"/>
        </pc:sldMkLst>
        <pc:spChg chg="mod">
          <ac:chgData name="Eileen Fleming Suse" userId="S::efs3844@ads.northwestern.edu::725c94ef-d051-42d7-9d33-8572765d592b" providerId="AD" clId="Web-{8544FFE2-8133-585B-66CC-2C8177C23087}" dt="2023-11-17T20:47:04.161" v="210"/>
          <ac:spMkLst>
            <pc:docMk/>
            <pc:sldMk cId="714682852" sldId="552"/>
            <ac:spMk id="2" creationId="{966FAC69-62AA-D40E-C4BD-DAD5BF599C69}"/>
          </ac:spMkLst>
        </pc:spChg>
        <pc:spChg chg="mod">
          <ac:chgData name="Eileen Fleming Suse" userId="S::efs3844@ads.northwestern.edu::725c94ef-d051-42d7-9d33-8572765d592b" providerId="AD" clId="Web-{8544FFE2-8133-585B-66CC-2C8177C23087}" dt="2023-11-17T20:47:30.318" v="211" actId="20577"/>
          <ac:spMkLst>
            <pc:docMk/>
            <pc:sldMk cId="714682852" sldId="552"/>
            <ac:spMk id="35" creationId="{53BCC135-7316-5956-0C96-6C92A1A248BB}"/>
          </ac:spMkLst>
        </pc:spChg>
      </pc:sldChg>
      <pc:sldChg chg="del">
        <pc:chgData name="Eileen Fleming Suse" userId="S::efs3844@ads.northwestern.edu::725c94ef-d051-42d7-9d33-8572765d592b" providerId="AD" clId="Web-{8544FFE2-8133-585B-66CC-2C8177C23087}" dt="2023-11-17T18:20:18.784" v="4"/>
        <pc:sldMkLst>
          <pc:docMk/>
          <pc:sldMk cId="3536510335" sldId="553"/>
        </pc:sldMkLst>
      </pc:sldChg>
      <pc:sldChg chg="del">
        <pc:chgData name="Eileen Fleming Suse" userId="S::efs3844@ads.northwestern.edu::725c94ef-d051-42d7-9d33-8572765d592b" providerId="AD" clId="Web-{8544FFE2-8133-585B-66CC-2C8177C23087}" dt="2023-11-17T18:20:04.909" v="3"/>
        <pc:sldMkLst>
          <pc:docMk/>
          <pc:sldMk cId="1231844700" sldId="554"/>
        </pc:sldMkLst>
      </pc:sldChg>
      <pc:sldChg chg="del">
        <pc:chgData name="Eileen Fleming Suse" userId="S::efs3844@ads.northwestern.edu::725c94ef-d051-42d7-9d33-8572765d592b" providerId="AD" clId="Web-{8544FFE2-8133-585B-66CC-2C8177C23087}" dt="2023-11-17T18:28:09.764" v="14"/>
        <pc:sldMkLst>
          <pc:docMk/>
          <pc:sldMk cId="2564870475" sldId="566"/>
        </pc:sldMkLst>
      </pc:sldChg>
      <pc:sldChg chg="del">
        <pc:chgData name="Eileen Fleming Suse" userId="S::efs3844@ads.northwestern.edu::725c94ef-d051-42d7-9d33-8572765d592b" providerId="AD" clId="Web-{8544FFE2-8133-585B-66CC-2C8177C23087}" dt="2023-11-17T18:27:58.827" v="13"/>
        <pc:sldMkLst>
          <pc:docMk/>
          <pc:sldMk cId="3870927286" sldId="583"/>
        </pc:sldMkLst>
      </pc:sldChg>
      <pc:sldChg chg="del">
        <pc:chgData name="Eileen Fleming Suse" userId="S::efs3844@ads.northwestern.edu::725c94ef-d051-42d7-9d33-8572765d592b" providerId="AD" clId="Web-{8544FFE2-8133-585B-66CC-2C8177C23087}" dt="2023-11-17T18:28:24.202" v="15"/>
        <pc:sldMkLst>
          <pc:docMk/>
          <pc:sldMk cId="1210022179" sldId="617"/>
        </pc:sldMkLst>
      </pc:sldChg>
      <pc:sldChg chg="ord">
        <pc:chgData name="Eileen Fleming Suse" userId="S::efs3844@ads.northwestern.edu::725c94ef-d051-42d7-9d33-8572765d592b" providerId="AD" clId="Web-{8544FFE2-8133-585B-66CC-2C8177C23087}" dt="2023-11-17T18:27:48.029" v="12"/>
        <pc:sldMkLst>
          <pc:docMk/>
          <pc:sldMk cId="3850125703" sldId="622"/>
        </pc:sldMkLst>
      </pc:sldChg>
      <pc:sldChg chg="del">
        <pc:chgData name="Eileen Fleming Suse" userId="S::efs3844@ads.northwestern.edu::725c94ef-d051-42d7-9d33-8572765d592b" providerId="AD" clId="Web-{8544FFE2-8133-585B-66CC-2C8177C23087}" dt="2023-11-17T18:28:24.483" v="16"/>
        <pc:sldMkLst>
          <pc:docMk/>
          <pc:sldMk cId="2561278274" sldId="630"/>
        </pc:sldMkLst>
      </pc:sldChg>
      <pc:sldChg chg="del">
        <pc:chgData name="Eileen Fleming Suse" userId="S::efs3844@ads.northwestern.edu::725c94ef-d051-42d7-9d33-8572765d592b" providerId="AD" clId="Web-{8544FFE2-8133-585B-66CC-2C8177C23087}" dt="2023-11-17T18:28:24.499" v="17"/>
        <pc:sldMkLst>
          <pc:docMk/>
          <pc:sldMk cId="488873692" sldId="631"/>
        </pc:sldMkLst>
      </pc:sldChg>
      <pc:sldChg chg="del">
        <pc:chgData name="Eileen Fleming Suse" userId="S::efs3844@ads.northwestern.edu::725c94ef-d051-42d7-9d33-8572765d592b" providerId="AD" clId="Web-{8544FFE2-8133-585B-66CC-2C8177C23087}" dt="2023-11-17T18:28:45.562" v="18"/>
        <pc:sldMkLst>
          <pc:docMk/>
          <pc:sldMk cId="3115055849" sldId="632"/>
        </pc:sldMkLst>
      </pc:sldChg>
      <pc:sldChg chg="add del">
        <pc:chgData name="Eileen Fleming Suse" userId="S::efs3844@ads.northwestern.edu::725c94ef-d051-42d7-9d33-8572765d592b" providerId="AD" clId="Web-{8544FFE2-8133-585B-66CC-2C8177C23087}" dt="2023-11-17T18:31:41.160" v="22"/>
        <pc:sldMkLst>
          <pc:docMk/>
          <pc:sldMk cId="3999708931" sldId="633"/>
        </pc:sldMkLst>
      </pc:sldChg>
      <pc:sldChg chg="modSp del modNotes">
        <pc:chgData name="Eileen Fleming Suse" userId="S::efs3844@ads.northwestern.edu::725c94ef-d051-42d7-9d33-8572765d592b" providerId="AD" clId="Web-{8544FFE2-8133-585B-66CC-2C8177C23087}" dt="2023-11-17T20:56:58.976" v="246"/>
        <pc:sldMkLst>
          <pc:docMk/>
          <pc:sldMk cId="3123563290" sldId="656"/>
        </pc:sldMkLst>
        <pc:spChg chg="mod">
          <ac:chgData name="Eileen Fleming Suse" userId="S::efs3844@ads.northwestern.edu::725c94ef-d051-42d7-9d33-8572765d592b" providerId="AD" clId="Web-{8544FFE2-8133-585B-66CC-2C8177C23087}" dt="2023-11-17T20:56:22.301" v="227" actId="20577"/>
          <ac:spMkLst>
            <pc:docMk/>
            <pc:sldMk cId="3123563290" sldId="656"/>
            <ac:spMk id="3" creationId="{00000000-0000-0000-0000-000000000000}"/>
          </ac:spMkLst>
        </pc:spChg>
      </pc:sldChg>
      <pc:sldChg chg="del mod modShow">
        <pc:chgData name="Eileen Fleming Suse" userId="S::efs3844@ads.northwestern.edu::725c94ef-d051-42d7-9d33-8572765d592b" providerId="AD" clId="Web-{8544FFE2-8133-585B-66CC-2C8177C23087}" dt="2023-11-17T20:47:52.678" v="212"/>
        <pc:sldMkLst>
          <pc:docMk/>
          <pc:sldMk cId="2276722899" sldId="657"/>
        </pc:sldMkLst>
      </pc:sldChg>
      <pc:sldChg chg="del mod modShow">
        <pc:chgData name="Eileen Fleming Suse" userId="S::efs3844@ads.northwestern.edu::725c94ef-d051-42d7-9d33-8572765d592b" providerId="AD" clId="Web-{8544FFE2-8133-585B-66CC-2C8177C23087}" dt="2023-11-17T20:47:53.193" v="213"/>
        <pc:sldMkLst>
          <pc:docMk/>
          <pc:sldMk cId="198744726" sldId="658"/>
        </pc:sldMkLst>
      </pc:sldChg>
      <pc:sldChg chg="del modNotes">
        <pc:chgData name="Eileen Fleming Suse" userId="S::efs3844@ads.northwestern.edu::725c94ef-d051-42d7-9d33-8572765d592b" providerId="AD" clId="Web-{8544FFE2-8133-585B-66CC-2C8177C23087}" dt="2023-11-17T20:56:58.976" v="245"/>
        <pc:sldMkLst>
          <pc:docMk/>
          <pc:sldMk cId="3367933567" sldId="659"/>
        </pc:sldMkLst>
      </pc:sldChg>
      <pc:sldChg chg="modSp del modNotes">
        <pc:chgData name="Eileen Fleming Suse" userId="S::efs3844@ads.northwestern.edu::725c94ef-d051-42d7-9d33-8572765d592b" providerId="AD" clId="Web-{8544FFE2-8133-585B-66CC-2C8177C23087}" dt="2023-11-17T20:56:58.959" v="244"/>
        <pc:sldMkLst>
          <pc:docMk/>
          <pc:sldMk cId="1238318588" sldId="660"/>
        </pc:sldMkLst>
        <pc:spChg chg="mod">
          <ac:chgData name="Eileen Fleming Suse" userId="S::efs3844@ads.northwestern.edu::725c94ef-d051-42d7-9d33-8572765d592b" providerId="AD" clId="Web-{8544FFE2-8133-585B-66CC-2C8177C23087}" dt="2023-11-17T18:45:38.931" v="34" actId="1076"/>
          <ac:spMkLst>
            <pc:docMk/>
            <pc:sldMk cId="1238318588" sldId="660"/>
            <ac:spMk id="7" creationId="{EAD90045-A731-42F5-ED3E-D5AE61B97B24}"/>
          </ac:spMkLst>
        </pc:spChg>
        <pc:spChg chg="mod">
          <ac:chgData name="Eileen Fleming Suse" userId="S::efs3844@ads.northwestern.edu::725c94ef-d051-42d7-9d33-8572765d592b" providerId="AD" clId="Web-{8544FFE2-8133-585B-66CC-2C8177C23087}" dt="2023-11-17T18:46:17.994" v="38" actId="1076"/>
          <ac:spMkLst>
            <pc:docMk/>
            <pc:sldMk cId="1238318588" sldId="660"/>
            <ac:spMk id="16386" creationId="{00000000-0000-0000-0000-000000000000}"/>
          </ac:spMkLst>
        </pc:spChg>
      </pc:sldChg>
      <pc:sldChg chg="del mod modShow">
        <pc:chgData name="Eileen Fleming Suse" userId="S::efs3844@ads.northwestern.edu::725c94ef-d051-42d7-9d33-8572765d592b" providerId="AD" clId="Web-{8544FFE2-8133-585B-66CC-2C8177C23087}" dt="2023-11-17T20:48:21.757" v="219"/>
        <pc:sldMkLst>
          <pc:docMk/>
          <pc:sldMk cId="3968172727" sldId="661"/>
        </pc:sldMkLst>
      </pc:sldChg>
      <pc:sldChg chg="del">
        <pc:chgData name="Eileen Fleming Suse" userId="S::efs3844@ads.northwestern.edu::725c94ef-d051-42d7-9d33-8572765d592b" providerId="AD" clId="Web-{8544FFE2-8133-585B-66CC-2C8177C23087}" dt="2023-11-17T20:56:58.959" v="243"/>
        <pc:sldMkLst>
          <pc:docMk/>
          <pc:sldMk cId="1157288213" sldId="662"/>
        </pc:sldMkLst>
      </pc:sldChg>
      <pc:sldChg chg="del">
        <pc:chgData name="Eileen Fleming Suse" userId="S::efs3844@ads.northwestern.edu::725c94ef-d051-42d7-9d33-8572765d592b" providerId="AD" clId="Web-{8544FFE2-8133-585B-66CC-2C8177C23087}" dt="2023-11-17T20:56:58.959" v="242"/>
        <pc:sldMkLst>
          <pc:docMk/>
          <pc:sldMk cId="2333012131" sldId="663"/>
        </pc:sldMkLst>
      </pc:sldChg>
      <pc:sldChg chg="del">
        <pc:chgData name="Eileen Fleming Suse" userId="S::efs3844@ads.northwestern.edu::725c94ef-d051-42d7-9d33-8572765d592b" providerId="AD" clId="Web-{8544FFE2-8133-585B-66CC-2C8177C23087}" dt="2023-11-17T20:56:58.943" v="240"/>
        <pc:sldMkLst>
          <pc:docMk/>
          <pc:sldMk cId="2985803891" sldId="664"/>
        </pc:sldMkLst>
      </pc:sldChg>
      <pc:sldChg chg="del">
        <pc:chgData name="Eileen Fleming Suse" userId="S::efs3844@ads.northwestern.edu::725c94ef-d051-42d7-9d33-8572765d592b" providerId="AD" clId="Web-{8544FFE2-8133-585B-66CC-2C8177C23087}" dt="2023-11-17T20:56:58.943" v="239"/>
        <pc:sldMkLst>
          <pc:docMk/>
          <pc:sldMk cId="1562630454" sldId="665"/>
        </pc:sldMkLst>
      </pc:sldChg>
      <pc:sldChg chg="del">
        <pc:chgData name="Eileen Fleming Suse" userId="S::efs3844@ads.northwestern.edu::725c94ef-d051-42d7-9d33-8572765d592b" providerId="AD" clId="Web-{8544FFE2-8133-585B-66CC-2C8177C23087}" dt="2023-11-17T20:56:58.943" v="238"/>
        <pc:sldMkLst>
          <pc:docMk/>
          <pc:sldMk cId="1313773042" sldId="666"/>
        </pc:sldMkLst>
      </pc:sldChg>
      <pc:sldChg chg="del">
        <pc:chgData name="Eileen Fleming Suse" userId="S::efs3844@ads.northwestern.edu::725c94ef-d051-42d7-9d33-8572765d592b" providerId="AD" clId="Web-{8544FFE2-8133-585B-66CC-2C8177C23087}" dt="2023-11-17T20:56:58.927" v="237"/>
        <pc:sldMkLst>
          <pc:docMk/>
          <pc:sldMk cId="2764453072" sldId="667"/>
        </pc:sldMkLst>
      </pc:sldChg>
      <pc:sldChg chg="del">
        <pc:chgData name="Eileen Fleming Suse" userId="S::efs3844@ads.northwestern.edu::725c94ef-d051-42d7-9d33-8572765d592b" providerId="AD" clId="Web-{8544FFE2-8133-585B-66CC-2C8177C23087}" dt="2023-11-17T20:56:58.927" v="236"/>
        <pc:sldMkLst>
          <pc:docMk/>
          <pc:sldMk cId="2638397019" sldId="668"/>
        </pc:sldMkLst>
      </pc:sldChg>
      <pc:sldChg chg="del">
        <pc:chgData name="Eileen Fleming Suse" userId="S::efs3844@ads.northwestern.edu::725c94ef-d051-42d7-9d33-8572765d592b" providerId="AD" clId="Web-{8544FFE2-8133-585B-66CC-2C8177C23087}" dt="2023-11-17T20:56:58.927" v="235"/>
        <pc:sldMkLst>
          <pc:docMk/>
          <pc:sldMk cId="1640072512" sldId="669"/>
        </pc:sldMkLst>
      </pc:sldChg>
      <pc:sldChg chg="del">
        <pc:chgData name="Eileen Fleming Suse" userId="S::efs3844@ads.northwestern.edu::725c94ef-d051-42d7-9d33-8572765d592b" providerId="AD" clId="Web-{8544FFE2-8133-585B-66CC-2C8177C23087}" dt="2023-11-17T20:56:58.927" v="234"/>
        <pc:sldMkLst>
          <pc:docMk/>
          <pc:sldMk cId="3549628686" sldId="670"/>
        </pc:sldMkLst>
      </pc:sldChg>
      <pc:sldChg chg="del">
        <pc:chgData name="Eileen Fleming Suse" userId="S::efs3844@ads.northwestern.edu::725c94ef-d051-42d7-9d33-8572765d592b" providerId="AD" clId="Web-{8544FFE2-8133-585B-66CC-2C8177C23087}" dt="2023-11-17T20:56:58.927" v="233"/>
        <pc:sldMkLst>
          <pc:docMk/>
          <pc:sldMk cId="3419646886" sldId="671"/>
        </pc:sldMkLst>
      </pc:sldChg>
      <pc:sldChg chg="del">
        <pc:chgData name="Eileen Fleming Suse" userId="S::efs3844@ads.northwestern.edu::725c94ef-d051-42d7-9d33-8572765d592b" providerId="AD" clId="Web-{8544FFE2-8133-585B-66CC-2C8177C23087}" dt="2023-11-17T20:56:58.912" v="232"/>
        <pc:sldMkLst>
          <pc:docMk/>
          <pc:sldMk cId="121376505" sldId="672"/>
        </pc:sldMkLst>
      </pc:sldChg>
      <pc:sldChg chg="del">
        <pc:chgData name="Eileen Fleming Suse" userId="S::efs3844@ads.northwestern.edu::725c94ef-d051-42d7-9d33-8572765d592b" providerId="AD" clId="Web-{8544FFE2-8133-585B-66CC-2C8177C23087}" dt="2023-11-17T20:56:58.912" v="231"/>
        <pc:sldMkLst>
          <pc:docMk/>
          <pc:sldMk cId="4246233696" sldId="673"/>
        </pc:sldMkLst>
      </pc:sldChg>
      <pc:sldChg chg="del ord">
        <pc:chgData name="Eileen Fleming Suse" userId="S::efs3844@ads.northwestern.edu::725c94ef-d051-42d7-9d33-8572765d592b" providerId="AD" clId="Web-{8544FFE2-8133-585B-66CC-2C8177C23087}" dt="2023-11-17T20:56:58.943" v="241"/>
        <pc:sldMkLst>
          <pc:docMk/>
          <pc:sldMk cId="3562395065" sldId="674"/>
        </pc:sldMkLst>
      </pc:sldChg>
      <pc:sldChg chg="del">
        <pc:chgData name="Eileen Fleming Suse" userId="S::efs3844@ads.northwestern.edu::725c94ef-d051-42d7-9d33-8572765d592b" providerId="AD" clId="Web-{8544FFE2-8133-585B-66CC-2C8177C23087}" dt="2023-11-17T20:56:58.912" v="230"/>
        <pc:sldMkLst>
          <pc:docMk/>
          <pc:sldMk cId="3537511129" sldId="675"/>
        </pc:sldMkLst>
      </pc:sldChg>
      <pc:sldChg chg="del">
        <pc:chgData name="Eileen Fleming Suse" userId="S::efs3844@ads.northwestern.edu::725c94ef-d051-42d7-9d33-8572765d592b" providerId="AD" clId="Web-{8544FFE2-8133-585B-66CC-2C8177C23087}" dt="2023-11-17T20:56:58.912" v="229"/>
        <pc:sldMkLst>
          <pc:docMk/>
          <pc:sldMk cId="928134893" sldId="676"/>
        </pc:sldMkLst>
      </pc:sldChg>
      <pc:sldChg chg="del">
        <pc:chgData name="Eileen Fleming Suse" userId="S::efs3844@ads.northwestern.edu::725c94ef-d051-42d7-9d33-8572765d592b" providerId="AD" clId="Web-{8544FFE2-8133-585B-66CC-2C8177C23087}" dt="2023-11-17T20:56:58.896" v="228"/>
        <pc:sldMkLst>
          <pc:docMk/>
          <pc:sldMk cId="1611570233" sldId="677"/>
        </pc:sldMkLst>
      </pc:sldChg>
      <pc:sldChg chg="modSp">
        <pc:chgData name="Eileen Fleming Suse" userId="S::efs3844@ads.northwestern.edu::725c94ef-d051-42d7-9d33-8572765d592b" providerId="AD" clId="Web-{8544FFE2-8133-585B-66CC-2C8177C23087}" dt="2023-11-17T18:35:02.603" v="25" actId="20577"/>
        <pc:sldMkLst>
          <pc:docMk/>
          <pc:sldMk cId="3336998141" sldId="681"/>
        </pc:sldMkLst>
        <pc:spChg chg="mod">
          <ac:chgData name="Eileen Fleming Suse" userId="S::efs3844@ads.northwestern.edu::725c94ef-d051-42d7-9d33-8572765d592b" providerId="AD" clId="Web-{8544FFE2-8133-585B-66CC-2C8177C23087}" dt="2023-11-17T18:35:02.603" v="25" actId="20577"/>
          <ac:spMkLst>
            <pc:docMk/>
            <pc:sldMk cId="3336998141" sldId="681"/>
            <ac:spMk id="3" creationId="{00000000-0000-0000-0000-000000000000}"/>
          </ac:spMkLst>
        </pc:spChg>
      </pc:sldChg>
      <pc:sldChg chg="addSp delSp modSp new mod ord setBg">
        <pc:chgData name="Eileen Fleming Suse" userId="S::efs3844@ads.northwestern.edu::725c94ef-d051-42d7-9d33-8572765d592b" providerId="AD" clId="Web-{8544FFE2-8133-585B-66CC-2C8177C23087}" dt="2023-11-17T20:46:53.442" v="209"/>
        <pc:sldMkLst>
          <pc:docMk/>
          <pc:sldMk cId="3080095507" sldId="703"/>
        </pc:sldMkLst>
        <pc:spChg chg="del mod">
          <ac:chgData name="Eileen Fleming Suse" userId="S::efs3844@ads.northwestern.edu::725c94ef-d051-42d7-9d33-8572765d592b" providerId="AD" clId="Web-{8544FFE2-8133-585B-66CC-2C8177C23087}" dt="2023-11-17T20:38:23.552" v="165"/>
          <ac:spMkLst>
            <pc:docMk/>
            <pc:sldMk cId="3080095507" sldId="703"/>
            <ac:spMk id="2" creationId="{6BD83CA6-57D1-222F-83DA-E2A766AEDE89}"/>
          </ac:spMkLst>
        </pc:spChg>
        <pc:spChg chg="del">
          <ac:chgData name="Eileen Fleming Suse" userId="S::efs3844@ads.northwestern.edu::725c94ef-d051-42d7-9d33-8572765d592b" providerId="AD" clId="Web-{8544FFE2-8133-585B-66CC-2C8177C23087}" dt="2023-11-17T20:38:12.130" v="163"/>
          <ac:spMkLst>
            <pc:docMk/>
            <pc:sldMk cId="3080095507" sldId="703"/>
            <ac:spMk id="3" creationId="{9EA76214-B4BA-0A87-AD4C-D257DCE85CE3}"/>
          </ac:spMkLst>
        </pc:spChg>
        <pc:spChg chg="mod ord">
          <ac:chgData name="Eileen Fleming Suse" userId="S::efs3844@ads.northwestern.edu::725c94ef-d051-42d7-9d33-8572765d592b" providerId="AD" clId="Web-{8544FFE2-8133-585B-66CC-2C8177C23087}" dt="2023-11-17T20:41:43.183" v="176"/>
          <ac:spMkLst>
            <pc:docMk/>
            <pc:sldMk cId="3080095507" sldId="703"/>
            <ac:spMk id="4" creationId="{7C6CB985-0431-BE7A-0A14-7D8A51C03E22}"/>
          </ac:spMkLst>
        </pc:spChg>
        <pc:spChg chg="mod">
          <ac:chgData name="Eileen Fleming Suse" userId="S::efs3844@ads.northwestern.edu::725c94ef-d051-42d7-9d33-8572765d592b" providerId="AD" clId="Web-{8544FFE2-8133-585B-66CC-2C8177C23087}" dt="2023-11-17T20:41:43.183" v="176"/>
          <ac:spMkLst>
            <pc:docMk/>
            <pc:sldMk cId="3080095507" sldId="703"/>
            <ac:spMk id="5" creationId="{FD357973-69DB-04A9-A2C1-6BBC79CB3784}"/>
          </ac:spMkLst>
        </pc:spChg>
        <pc:spChg chg="add del mod">
          <ac:chgData name="Eileen Fleming Suse" userId="S::efs3844@ads.northwestern.edu::725c94ef-d051-42d7-9d33-8572765d592b" providerId="AD" clId="Web-{8544FFE2-8133-585B-66CC-2C8177C23087}" dt="2023-11-17T20:41:30.151" v="174"/>
          <ac:spMkLst>
            <pc:docMk/>
            <pc:sldMk cId="3080095507" sldId="703"/>
            <ac:spMk id="8" creationId="{A494F2CF-F558-DF73-AE8A-B3A0553BF3BB}"/>
          </ac:spMkLst>
        </pc:spChg>
        <pc:spChg chg="add mod">
          <ac:chgData name="Eileen Fleming Suse" userId="S::efs3844@ads.northwestern.edu::725c94ef-d051-42d7-9d33-8572765d592b" providerId="AD" clId="Web-{8544FFE2-8133-585B-66CC-2C8177C23087}" dt="2023-11-17T20:46:53.442" v="209"/>
          <ac:spMkLst>
            <pc:docMk/>
            <pc:sldMk cId="3080095507" sldId="703"/>
            <ac:spMk id="14" creationId="{DA90BC2C-8D4E-A05C-243D-BCA657477692}"/>
          </ac:spMkLst>
        </pc:spChg>
        <pc:spChg chg="add">
          <ac:chgData name="Eileen Fleming Suse" userId="S::efs3844@ads.northwestern.edu::725c94ef-d051-42d7-9d33-8572765d592b" providerId="AD" clId="Web-{8544FFE2-8133-585B-66CC-2C8177C23087}" dt="2023-11-17T20:41:43.183" v="176"/>
          <ac:spMkLst>
            <pc:docMk/>
            <pc:sldMk cId="3080095507" sldId="703"/>
            <ac:spMk id="16" creationId="{AA3CC463-F933-4AC4-86E1-5AC14B0C3163}"/>
          </ac:spMkLst>
        </pc:spChg>
        <pc:spChg chg="add">
          <ac:chgData name="Eileen Fleming Suse" userId="S::efs3844@ads.northwestern.edu::725c94ef-d051-42d7-9d33-8572765d592b" providerId="AD" clId="Web-{8544FFE2-8133-585B-66CC-2C8177C23087}" dt="2023-11-17T20:41:43.183" v="176"/>
          <ac:spMkLst>
            <pc:docMk/>
            <pc:sldMk cId="3080095507" sldId="703"/>
            <ac:spMk id="18" creationId="{6025D2DB-A12A-44DB-B00E-F4D622329EDD}"/>
          </ac:spMkLst>
        </pc:spChg>
        <pc:spChg chg="add ord">
          <ac:chgData name="Eileen Fleming Suse" userId="S::efs3844@ads.northwestern.edu::725c94ef-d051-42d7-9d33-8572765d592b" providerId="AD" clId="Web-{8544FFE2-8133-585B-66CC-2C8177C23087}" dt="2023-11-17T20:42:09.293" v="180"/>
          <ac:spMkLst>
            <pc:docMk/>
            <pc:sldMk cId="3080095507" sldId="703"/>
            <ac:spMk id="20" creationId="{CE7E7877-F64E-4EEA-B778-138031EFF874}"/>
          </ac:spMkLst>
        </pc:spChg>
        <pc:spChg chg="add">
          <ac:chgData name="Eileen Fleming Suse" userId="S::efs3844@ads.northwestern.edu::725c94ef-d051-42d7-9d33-8572765d592b" providerId="AD" clId="Web-{8544FFE2-8133-585B-66CC-2C8177C23087}" dt="2023-11-17T20:41:43.183" v="176"/>
          <ac:spMkLst>
            <pc:docMk/>
            <pc:sldMk cId="3080095507" sldId="703"/>
            <ac:spMk id="22" creationId="{7DD6C4F3-70FD-4F13-919C-702EE4886499}"/>
          </ac:spMkLst>
        </pc:spChg>
        <pc:picChg chg="add mod ord modCrop">
          <ac:chgData name="Eileen Fleming Suse" userId="S::efs3844@ads.northwestern.edu::725c94ef-d051-42d7-9d33-8572765d592b" providerId="AD" clId="Web-{8544FFE2-8133-585B-66CC-2C8177C23087}" dt="2023-11-17T20:45:10.439" v="205" actId="1076"/>
          <ac:picMkLst>
            <pc:docMk/>
            <pc:sldMk cId="3080095507" sldId="703"/>
            <ac:picMk id="6" creationId="{EF676F65-F32E-BCC1-B4AB-2FC96638BE9E}"/>
          </ac:picMkLst>
        </pc:picChg>
        <pc:picChg chg="add del mod">
          <ac:chgData name="Eileen Fleming Suse" userId="S::efs3844@ads.northwestern.edu::725c94ef-d051-42d7-9d33-8572765d592b" providerId="AD" clId="Web-{8544FFE2-8133-585B-66CC-2C8177C23087}" dt="2023-11-17T20:41:04.697" v="170"/>
          <ac:picMkLst>
            <pc:docMk/>
            <pc:sldMk cId="3080095507" sldId="703"/>
            <ac:picMk id="9" creationId="{7DEAA94B-259D-A0EF-A946-A0B85BC22F4E}"/>
          </ac:picMkLst>
        </pc:picChg>
        <pc:picChg chg="add mod ord">
          <ac:chgData name="Eileen Fleming Suse" userId="S::efs3844@ads.northwestern.edu::725c94ef-d051-42d7-9d33-8572765d592b" providerId="AD" clId="Web-{8544FFE2-8133-585B-66CC-2C8177C23087}" dt="2023-11-17T20:42:33.294" v="183" actId="1076"/>
          <ac:picMkLst>
            <pc:docMk/>
            <pc:sldMk cId="3080095507" sldId="703"/>
            <ac:picMk id="10" creationId="{1B456DB8-BA21-BAEA-F66C-46C6DD431168}"/>
          </ac:picMkLst>
        </pc:picChg>
        <pc:picChg chg="add mod">
          <ac:chgData name="Eileen Fleming Suse" userId="S::efs3844@ads.northwestern.edu::725c94ef-d051-42d7-9d33-8572765d592b" providerId="AD" clId="Web-{8544FFE2-8133-585B-66CC-2C8177C23087}" dt="2023-11-17T20:41:43.183" v="176"/>
          <ac:picMkLst>
            <pc:docMk/>
            <pc:sldMk cId="3080095507" sldId="703"/>
            <ac:picMk id="11" creationId="{E09D5B73-1671-B84D-6132-06E4A8E9E2DC}"/>
          </ac:picMkLst>
        </pc:picChg>
        <pc:picChg chg="add mod modCrop">
          <ac:chgData name="Eileen Fleming Suse" userId="S::efs3844@ads.northwestern.edu::725c94ef-d051-42d7-9d33-8572765d592b" providerId="AD" clId="Web-{8544FFE2-8133-585B-66CC-2C8177C23087}" dt="2023-11-17T20:45:10.392" v="204" actId="1076"/>
          <ac:picMkLst>
            <pc:docMk/>
            <pc:sldMk cId="3080095507" sldId="703"/>
            <ac:picMk id="13" creationId="{97F41871-076F-3542-7DCC-5CF58E271492}"/>
          </ac:picMkLst>
        </pc:picChg>
      </pc:sldChg>
      <pc:sldChg chg="new del">
        <pc:chgData name="Eileen Fleming Suse" userId="S::efs3844@ads.northwestern.edu::725c94ef-d051-42d7-9d33-8572765d592b" providerId="AD" clId="Web-{8544FFE2-8133-585B-66CC-2C8177C23087}" dt="2023-11-18T01:37:12.063" v="359"/>
        <pc:sldMkLst>
          <pc:docMk/>
          <pc:sldMk cId="506161772" sldId="704"/>
        </pc:sldMkLst>
      </pc:sldChg>
      <pc:sldChg chg="modSp new">
        <pc:chgData name="Eileen Fleming Suse" userId="S::efs3844@ads.northwestern.edu::725c94ef-d051-42d7-9d33-8572765d592b" providerId="AD" clId="Web-{8544FFE2-8133-585B-66CC-2C8177C23087}" dt="2023-11-17T20:36:20.330" v="162" actId="20577"/>
        <pc:sldMkLst>
          <pc:docMk/>
          <pc:sldMk cId="1949613945" sldId="705"/>
        </pc:sldMkLst>
        <pc:spChg chg="mod">
          <ac:chgData name="Eileen Fleming Suse" userId="S::efs3844@ads.northwestern.edu::725c94ef-d051-42d7-9d33-8572765d592b" providerId="AD" clId="Web-{8544FFE2-8133-585B-66CC-2C8177C23087}" dt="2023-11-17T20:36:20.330" v="162" actId="20577"/>
          <ac:spMkLst>
            <pc:docMk/>
            <pc:sldMk cId="1949613945" sldId="705"/>
            <ac:spMk id="2" creationId="{2DE9407A-4283-B111-345C-31D89DFF03A2}"/>
          </ac:spMkLst>
        </pc:spChg>
      </pc:sldChg>
      <pc:sldChg chg="add">
        <pc:chgData name="Eileen Fleming Suse" userId="S::efs3844@ads.northwestern.edu::725c94ef-d051-42d7-9d33-8572765d592b" providerId="AD" clId="Web-{8544FFE2-8133-585B-66CC-2C8177C23087}" dt="2023-11-17T20:16:14.374" v="52"/>
        <pc:sldMkLst>
          <pc:docMk/>
          <pc:sldMk cId="790635443" sldId="706"/>
        </pc:sldMkLst>
      </pc:sldChg>
      <pc:sldChg chg="add">
        <pc:chgData name="Eileen Fleming Suse" userId="S::efs3844@ads.northwestern.edu::725c94ef-d051-42d7-9d33-8572765d592b" providerId="AD" clId="Web-{8544FFE2-8133-585B-66CC-2C8177C23087}" dt="2023-11-17T20:16:42.468" v="53"/>
        <pc:sldMkLst>
          <pc:docMk/>
          <pc:sldMk cId="1643539557" sldId="707"/>
        </pc:sldMkLst>
      </pc:sldChg>
      <pc:sldChg chg="add">
        <pc:chgData name="Eileen Fleming Suse" userId="S::efs3844@ads.northwestern.edu::725c94ef-d051-42d7-9d33-8572765d592b" providerId="AD" clId="Web-{8544FFE2-8133-585B-66CC-2C8177C23087}" dt="2023-11-17T20:16:42.877" v="54"/>
        <pc:sldMkLst>
          <pc:docMk/>
          <pc:sldMk cId="1789754515" sldId="708"/>
        </pc:sldMkLst>
      </pc:sldChg>
      <pc:sldChg chg="add modNotes">
        <pc:chgData name="Eileen Fleming Suse" userId="S::efs3844@ads.northwestern.edu::725c94ef-d051-42d7-9d33-8572765d592b" providerId="AD" clId="Web-{8544FFE2-8133-585B-66CC-2C8177C23087}" dt="2023-11-17T20:24:06.200" v="93"/>
        <pc:sldMkLst>
          <pc:docMk/>
          <pc:sldMk cId="768417776" sldId="709"/>
        </pc:sldMkLst>
      </pc:sldChg>
      <pc:sldChg chg="add modNotes">
        <pc:chgData name="Eileen Fleming Suse" userId="S::efs3844@ads.northwestern.edu::725c94ef-d051-42d7-9d33-8572765d592b" providerId="AD" clId="Web-{8544FFE2-8133-585B-66CC-2C8177C23087}" dt="2023-11-17T20:24:05.934" v="91"/>
        <pc:sldMkLst>
          <pc:docMk/>
          <pc:sldMk cId="3734042619" sldId="710"/>
        </pc:sldMkLst>
      </pc:sldChg>
      <pc:sldChg chg="add modNotes">
        <pc:chgData name="Eileen Fleming Suse" userId="S::efs3844@ads.northwestern.edu::725c94ef-d051-42d7-9d33-8572765d592b" providerId="AD" clId="Web-{8544FFE2-8133-585B-66CC-2C8177C23087}" dt="2023-11-17T20:24:04.872" v="89"/>
        <pc:sldMkLst>
          <pc:docMk/>
          <pc:sldMk cId="3859034132" sldId="711"/>
        </pc:sldMkLst>
      </pc:sldChg>
      <pc:sldChg chg="add">
        <pc:chgData name="Eileen Fleming Suse" userId="S::efs3844@ads.northwestern.edu::725c94ef-d051-42d7-9d33-8572765d592b" providerId="AD" clId="Web-{8544FFE2-8133-585B-66CC-2C8177C23087}" dt="2023-11-17T20:17:06.391" v="58"/>
        <pc:sldMkLst>
          <pc:docMk/>
          <pc:sldMk cId="3139874353" sldId="712"/>
        </pc:sldMkLst>
      </pc:sldChg>
      <pc:sldChg chg="add">
        <pc:chgData name="Eileen Fleming Suse" userId="S::efs3844@ads.northwestern.edu::725c94ef-d051-42d7-9d33-8572765d592b" providerId="AD" clId="Web-{8544FFE2-8133-585B-66CC-2C8177C23087}" dt="2023-11-17T20:18:29.471" v="59"/>
        <pc:sldMkLst>
          <pc:docMk/>
          <pc:sldMk cId="4179369718" sldId="713"/>
        </pc:sldMkLst>
      </pc:sldChg>
      <pc:sldChg chg="addSp modSp new ord">
        <pc:chgData name="Eileen Fleming Suse" userId="S::efs3844@ads.northwestern.edu::725c94ef-d051-42d7-9d33-8572765d592b" providerId="AD" clId="Web-{8544FFE2-8133-585B-66CC-2C8177C23087}" dt="2023-11-17T20:22:07.009" v="73"/>
        <pc:sldMkLst>
          <pc:docMk/>
          <pc:sldMk cId="3124210322" sldId="714"/>
        </pc:sldMkLst>
        <pc:picChg chg="add mod">
          <ac:chgData name="Eileen Fleming Suse" userId="S::efs3844@ads.northwestern.edu::725c94ef-d051-42d7-9d33-8572765d592b" providerId="AD" clId="Web-{8544FFE2-8133-585B-66CC-2C8177C23087}" dt="2023-11-17T20:22:06.962" v="72" actId="1076"/>
          <ac:picMkLst>
            <pc:docMk/>
            <pc:sldMk cId="3124210322" sldId="714"/>
            <ac:picMk id="6" creationId="{9EE6AC8F-4DC4-191C-AA4C-B047F4935B19}"/>
          </ac:picMkLst>
        </pc:picChg>
      </pc:sldChg>
      <pc:sldChg chg="addSp modSp new ord">
        <pc:chgData name="Eileen Fleming Suse" userId="S::efs3844@ads.northwestern.edu::725c94ef-d051-42d7-9d33-8572765d592b" providerId="AD" clId="Web-{8544FFE2-8133-585B-66CC-2C8177C23087}" dt="2023-11-17T20:23:36.386" v="86" actId="20577"/>
        <pc:sldMkLst>
          <pc:docMk/>
          <pc:sldMk cId="4091814342" sldId="715"/>
        </pc:sldMkLst>
        <pc:spChg chg="mod">
          <ac:chgData name="Eileen Fleming Suse" userId="S::efs3844@ads.northwestern.edu::725c94ef-d051-42d7-9d33-8572765d592b" providerId="AD" clId="Web-{8544FFE2-8133-585B-66CC-2C8177C23087}" dt="2023-11-17T20:23:36.386" v="86" actId="20577"/>
          <ac:spMkLst>
            <pc:docMk/>
            <pc:sldMk cId="4091814342" sldId="715"/>
            <ac:spMk id="2" creationId="{8802BA79-C4E2-3A24-1316-4AC6D3F66837}"/>
          </ac:spMkLst>
        </pc:spChg>
        <pc:picChg chg="add mod">
          <ac:chgData name="Eileen Fleming Suse" userId="S::efs3844@ads.northwestern.edu::725c94ef-d051-42d7-9d33-8572765d592b" providerId="AD" clId="Web-{8544FFE2-8133-585B-66CC-2C8177C23087}" dt="2023-11-17T20:23:10.589" v="78" actId="1076"/>
          <ac:picMkLst>
            <pc:docMk/>
            <pc:sldMk cId="4091814342" sldId="715"/>
            <ac:picMk id="6" creationId="{302BBFF9-D69A-D1E9-E01C-7C15E1F6D1A6}"/>
          </ac:picMkLst>
        </pc:picChg>
      </pc:sldChg>
      <pc:sldChg chg="addSp delSp modSp new mod setBg modClrScheme chgLayout">
        <pc:chgData name="Eileen Fleming Suse" userId="S::efs3844@ads.northwestern.edu::725c94ef-d051-42d7-9d33-8572765d592b" providerId="AD" clId="Web-{8544FFE2-8133-585B-66CC-2C8177C23087}" dt="2023-11-17T20:35:43.141" v="150"/>
        <pc:sldMkLst>
          <pc:docMk/>
          <pc:sldMk cId="1219261171" sldId="716"/>
        </pc:sldMkLst>
        <pc:spChg chg="mod ord">
          <ac:chgData name="Eileen Fleming Suse" userId="S::efs3844@ads.northwestern.edu::725c94ef-d051-42d7-9d33-8572765d592b" providerId="AD" clId="Web-{8544FFE2-8133-585B-66CC-2C8177C23087}" dt="2023-11-17T20:35:43.141" v="150"/>
          <ac:spMkLst>
            <pc:docMk/>
            <pc:sldMk cId="1219261171" sldId="716"/>
            <ac:spMk id="2" creationId="{9CE5A4B0-542F-2C9E-8991-42C03138835F}"/>
          </ac:spMkLst>
        </pc:spChg>
        <pc:spChg chg="mod ord">
          <ac:chgData name="Eileen Fleming Suse" userId="S::efs3844@ads.northwestern.edu::725c94ef-d051-42d7-9d33-8572765d592b" providerId="AD" clId="Web-{8544FFE2-8133-585B-66CC-2C8177C23087}" dt="2023-11-17T20:35:43.141" v="150"/>
          <ac:spMkLst>
            <pc:docMk/>
            <pc:sldMk cId="1219261171" sldId="716"/>
            <ac:spMk id="3" creationId="{CEE04D07-E754-407A-AF01-3E961E5F8299}"/>
          </ac:spMkLst>
        </pc:spChg>
        <pc:spChg chg="add mod ord">
          <ac:chgData name="Eileen Fleming Suse" userId="S::efs3844@ads.northwestern.edu::725c94ef-d051-42d7-9d33-8572765d592b" providerId="AD" clId="Web-{8544FFE2-8133-585B-66CC-2C8177C23087}" dt="2023-11-17T20:35:43.141" v="150"/>
          <ac:spMkLst>
            <pc:docMk/>
            <pc:sldMk cId="1219261171" sldId="716"/>
            <ac:spMk id="4" creationId="{F75BEC83-D159-8B0F-F620-96A35FA5C767}"/>
          </ac:spMkLst>
        </pc:spChg>
        <pc:spChg chg="add del mod ord">
          <ac:chgData name="Eileen Fleming Suse" userId="S::efs3844@ads.northwestern.edu::725c94ef-d051-42d7-9d33-8572765d592b" providerId="AD" clId="Web-{8544FFE2-8133-585B-66CC-2C8177C23087}" dt="2023-11-17T20:35:43.141" v="150"/>
          <ac:spMkLst>
            <pc:docMk/>
            <pc:sldMk cId="1219261171" sldId="716"/>
            <ac:spMk id="5" creationId="{D88D8D55-7C2F-7D65-3250-A967B39A9B4A}"/>
          </ac:spMkLst>
        </pc:spChg>
        <pc:spChg chg="add">
          <ac:chgData name="Eileen Fleming Suse" userId="S::efs3844@ads.northwestern.edu::725c94ef-d051-42d7-9d33-8572765d592b" providerId="AD" clId="Web-{8544FFE2-8133-585B-66CC-2C8177C23087}" dt="2023-11-17T20:35:43.141" v="150"/>
          <ac:spMkLst>
            <pc:docMk/>
            <pc:sldMk cId="1219261171" sldId="716"/>
            <ac:spMk id="11" creationId="{BACC6370-2D7E-4714-9D71-7542949D7D5D}"/>
          </ac:spMkLst>
        </pc:spChg>
        <pc:spChg chg="add">
          <ac:chgData name="Eileen Fleming Suse" userId="S::efs3844@ads.northwestern.edu::725c94ef-d051-42d7-9d33-8572765d592b" providerId="AD" clId="Web-{8544FFE2-8133-585B-66CC-2C8177C23087}" dt="2023-11-17T20:35:43.141" v="150"/>
          <ac:spMkLst>
            <pc:docMk/>
            <pc:sldMk cId="1219261171" sldId="716"/>
            <ac:spMk id="13" creationId="{F68B3F68-107C-434F-AA38-110D5EA91B85}"/>
          </ac:spMkLst>
        </pc:spChg>
        <pc:spChg chg="add">
          <ac:chgData name="Eileen Fleming Suse" userId="S::efs3844@ads.northwestern.edu::725c94ef-d051-42d7-9d33-8572765d592b" providerId="AD" clId="Web-{8544FFE2-8133-585B-66CC-2C8177C23087}" dt="2023-11-17T20:35:43.141" v="150"/>
          <ac:spMkLst>
            <pc:docMk/>
            <pc:sldMk cId="1219261171" sldId="716"/>
            <ac:spMk id="15" creationId="{AAD0DBB9-1A4B-4391-81D4-CB19F9AB918A}"/>
          </ac:spMkLst>
        </pc:spChg>
        <pc:spChg chg="add">
          <ac:chgData name="Eileen Fleming Suse" userId="S::efs3844@ads.northwestern.edu::725c94ef-d051-42d7-9d33-8572765d592b" providerId="AD" clId="Web-{8544FFE2-8133-585B-66CC-2C8177C23087}" dt="2023-11-17T20:35:43.141" v="150"/>
          <ac:spMkLst>
            <pc:docMk/>
            <pc:sldMk cId="1219261171" sldId="716"/>
            <ac:spMk id="17" creationId="{063BBA22-50EA-4C4D-BE05-F1CE4E63AA56}"/>
          </ac:spMkLst>
        </pc:spChg>
        <pc:graphicFrameChg chg="add">
          <ac:chgData name="Eileen Fleming Suse" userId="S::efs3844@ads.northwestern.edu::725c94ef-d051-42d7-9d33-8572765d592b" providerId="AD" clId="Web-{8544FFE2-8133-585B-66CC-2C8177C23087}" dt="2023-11-17T20:35:43.141" v="150"/>
          <ac:graphicFrameMkLst>
            <pc:docMk/>
            <pc:sldMk cId="1219261171" sldId="716"/>
            <ac:graphicFrameMk id="7" creationId="{12C8E58B-812A-DA46-B1A6-90A0997A352B}"/>
          </ac:graphicFrameMkLst>
        </pc:graphicFrameChg>
      </pc:sldChg>
      <pc:sldChg chg="add del">
        <pc:chgData name="Eileen Fleming Suse" userId="S::efs3844@ads.northwestern.edu::725c94ef-d051-42d7-9d33-8572765d592b" providerId="AD" clId="Web-{8544FFE2-8133-585B-66CC-2C8177C23087}" dt="2023-11-17T20:58:42.665" v="284"/>
        <pc:sldMkLst>
          <pc:docMk/>
          <pc:sldMk cId="1437602570" sldId="717"/>
        </pc:sldMkLst>
      </pc:sldChg>
      <pc:sldChg chg="add">
        <pc:chgData name="Eileen Fleming Suse" userId="S::efs3844@ads.northwestern.edu::725c94ef-d051-42d7-9d33-8572765d592b" providerId="AD" clId="Web-{8544FFE2-8133-585B-66CC-2C8177C23087}" dt="2023-11-17T20:58:43.649" v="285"/>
        <pc:sldMkLst>
          <pc:docMk/>
          <pc:sldMk cId="4191050799" sldId="717"/>
        </pc:sldMkLst>
      </pc:sldChg>
      <pc:sldChg chg="add">
        <pc:chgData name="Eileen Fleming Suse" userId="S::efs3844@ads.northwestern.edu::725c94ef-d051-42d7-9d33-8572765d592b" providerId="AD" clId="Web-{8544FFE2-8133-585B-66CC-2C8177C23087}" dt="2023-11-17T20:58:44.571" v="286"/>
        <pc:sldMkLst>
          <pc:docMk/>
          <pc:sldMk cId="920926381" sldId="718"/>
        </pc:sldMkLst>
      </pc:sldChg>
      <pc:sldChg chg="add del">
        <pc:chgData name="Eileen Fleming Suse" userId="S::efs3844@ads.northwestern.edu::725c94ef-d051-42d7-9d33-8572765d592b" providerId="AD" clId="Web-{8544FFE2-8133-585B-66CC-2C8177C23087}" dt="2023-11-17T20:58:42.665" v="283"/>
        <pc:sldMkLst>
          <pc:docMk/>
          <pc:sldMk cId="3021507893" sldId="718"/>
        </pc:sldMkLst>
      </pc:sldChg>
      <pc:sldChg chg="add">
        <pc:chgData name="Eileen Fleming Suse" userId="S::efs3844@ads.northwestern.edu::725c94ef-d051-42d7-9d33-8572765d592b" providerId="AD" clId="Web-{8544FFE2-8133-585B-66CC-2C8177C23087}" dt="2023-11-17T20:58:45.696" v="287"/>
        <pc:sldMkLst>
          <pc:docMk/>
          <pc:sldMk cId="1181451199" sldId="719"/>
        </pc:sldMkLst>
      </pc:sldChg>
      <pc:sldChg chg="add del">
        <pc:chgData name="Eileen Fleming Suse" userId="S::efs3844@ads.northwestern.edu::725c94ef-d051-42d7-9d33-8572765d592b" providerId="AD" clId="Web-{8544FFE2-8133-585B-66CC-2C8177C23087}" dt="2023-11-17T20:58:42.665" v="282"/>
        <pc:sldMkLst>
          <pc:docMk/>
          <pc:sldMk cId="2458930477" sldId="719"/>
        </pc:sldMkLst>
      </pc:sldChg>
      <pc:sldChg chg="add">
        <pc:chgData name="Eileen Fleming Suse" userId="S::efs3844@ads.northwestern.edu::725c94ef-d051-42d7-9d33-8572765d592b" providerId="AD" clId="Web-{8544FFE2-8133-585B-66CC-2C8177C23087}" dt="2023-11-17T20:58:46.649" v="288"/>
        <pc:sldMkLst>
          <pc:docMk/>
          <pc:sldMk cId="102026260" sldId="720"/>
        </pc:sldMkLst>
      </pc:sldChg>
      <pc:sldChg chg="add del">
        <pc:chgData name="Eileen Fleming Suse" userId="S::efs3844@ads.northwestern.edu::725c94ef-d051-42d7-9d33-8572765d592b" providerId="AD" clId="Web-{8544FFE2-8133-585B-66CC-2C8177C23087}" dt="2023-11-17T20:58:42.665" v="281"/>
        <pc:sldMkLst>
          <pc:docMk/>
          <pc:sldMk cId="2619040630" sldId="720"/>
        </pc:sldMkLst>
      </pc:sldChg>
      <pc:sldChg chg="add del">
        <pc:chgData name="Eileen Fleming Suse" userId="S::efs3844@ads.northwestern.edu::725c94ef-d051-42d7-9d33-8572765d592b" providerId="AD" clId="Web-{8544FFE2-8133-585B-66CC-2C8177C23087}" dt="2023-11-17T20:58:42.665" v="280"/>
        <pc:sldMkLst>
          <pc:docMk/>
          <pc:sldMk cId="2098086206" sldId="721"/>
        </pc:sldMkLst>
      </pc:sldChg>
      <pc:sldChg chg="add">
        <pc:chgData name="Eileen Fleming Suse" userId="S::efs3844@ads.northwestern.edu::725c94ef-d051-42d7-9d33-8572765d592b" providerId="AD" clId="Web-{8544FFE2-8133-585B-66CC-2C8177C23087}" dt="2023-11-17T20:58:47.665" v="289"/>
        <pc:sldMkLst>
          <pc:docMk/>
          <pc:sldMk cId="4038851827" sldId="721"/>
        </pc:sldMkLst>
      </pc:sldChg>
      <pc:sldChg chg="add">
        <pc:chgData name="Eileen Fleming Suse" userId="S::efs3844@ads.northwestern.edu::725c94ef-d051-42d7-9d33-8572765d592b" providerId="AD" clId="Web-{8544FFE2-8133-585B-66CC-2C8177C23087}" dt="2023-11-17T20:58:48.712" v="290"/>
        <pc:sldMkLst>
          <pc:docMk/>
          <pc:sldMk cId="166818738" sldId="722"/>
        </pc:sldMkLst>
      </pc:sldChg>
      <pc:sldChg chg="add del">
        <pc:chgData name="Eileen Fleming Suse" userId="S::efs3844@ads.northwestern.edu::725c94ef-d051-42d7-9d33-8572765d592b" providerId="AD" clId="Web-{8544FFE2-8133-585B-66CC-2C8177C23087}" dt="2023-11-17T20:58:42.665" v="279"/>
        <pc:sldMkLst>
          <pc:docMk/>
          <pc:sldMk cId="3492088479" sldId="722"/>
        </pc:sldMkLst>
      </pc:sldChg>
      <pc:sldChg chg="add">
        <pc:chgData name="Eileen Fleming Suse" userId="S::efs3844@ads.northwestern.edu::725c94ef-d051-42d7-9d33-8572765d592b" providerId="AD" clId="Web-{8544FFE2-8133-585B-66CC-2C8177C23087}" dt="2023-11-17T20:58:49.743" v="291"/>
        <pc:sldMkLst>
          <pc:docMk/>
          <pc:sldMk cId="97208790" sldId="723"/>
        </pc:sldMkLst>
      </pc:sldChg>
      <pc:sldChg chg="add del">
        <pc:chgData name="Eileen Fleming Suse" userId="S::efs3844@ads.northwestern.edu::725c94ef-d051-42d7-9d33-8572765d592b" providerId="AD" clId="Web-{8544FFE2-8133-585B-66CC-2C8177C23087}" dt="2023-11-17T20:58:42.665" v="278"/>
        <pc:sldMkLst>
          <pc:docMk/>
          <pc:sldMk cId="2945055310" sldId="723"/>
        </pc:sldMkLst>
      </pc:sldChg>
      <pc:sldChg chg="add del">
        <pc:chgData name="Eileen Fleming Suse" userId="S::efs3844@ads.northwestern.edu::725c94ef-d051-42d7-9d33-8572765d592b" providerId="AD" clId="Web-{8544FFE2-8133-585B-66CC-2C8177C23087}" dt="2023-11-17T20:58:42.649" v="277"/>
        <pc:sldMkLst>
          <pc:docMk/>
          <pc:sldMk cId="725483926" sldId="724"/>
        </pc:sldMkLst>
      </pc:sldChg>
      <pc:sldChg chg="add">
        <pc:chgData name="Eileen Fleming Suse" userId="S::efs3844@ads.northwestern.edu::725c94ef-d051-42d7-9d33-8572765d592b" providerId="AD" clId="Web-{8544FFE2-8133-585B-66CC-2C8177C23087}" dt="2023-11-17T20:58:50.852" v="292"/>
        <pc:sldMkLst>
          <pc:docMk/>
          <pc:sldMk cId="2422191514" sldId="724"/>
        </pc:sldMkLst>
      </pc:sldChg>
      <pc:sldChg chg="add del">
        <pc:chgData name="Eileen Fleming Suse" userId="S::efs3844@ads.northwestern.edu::725c94ef-d051-42d7-9d33-8572765d592b" providerId="AD" clId="Web-{8544FFE2-8133-585B-66CC-2C8177C23087}" dt="2023-11-17T20:58:42.649" v="276"/>
        <pc:sldMkLst>
          <pc:docMk/>
          <pc:sldMk cId="2066878188" sldId="725"/>
        </pc:sldMkLst>
      </pc:sldChg>
      <pc:sldChg chg="add">
        <pc:chgData name="Eileen Fleming Suse" userId="S::efs3844@ads.northwestern.edu::725c94ef-d051-42d7-9d33-8572765d592b" providerId="AD" clId="Web-{8544FFE2-8133-585B-66CC-2C8177C23087}" dt="2023-11-17T20:58:51.868" v="293"/>
        <pc:sldMkLst>
          <pc:docMk/>
          <pc:sldMk cId="3458386910" sldId="725"/>
        </pc:sldMkLst>
      </pc:sldChg>
      <pc:sldChg chg="add del">
        <pc:chgData name="Eileen Fleming Suse" userId="S::efs3844@ads.northwestern.edu::725c94ef-d051-42d7-9d33-8572765d592b" providerId="AD" clId="Web-{8544FFE2-8133-585B-66CC-2C8177C23087}" dt="2023-11-17T20:58:42.649" v="275"/>
        <pc:sldMkLst>
          <pc:docMk/>
          <pc:sldMk cId="880761382" sldId="726"/>
        </pc:sldMkLst>
      </pc:sldChg>
      <pc:sldChg chg="add">
        <pc:chgData name="Eileen Fleming Suse" userId="S::efs3844@ads.northwestern.edu::725c94ef-d051-42d7-9d33-8572765d592b" providerId="AD" clId="Web-{8544FFE2-8133-585B-66CC-2C8177C23087}" dt="2023-11-17T20:58:53.087" v="294"/>
        <pc:sldMkLst>
          <pc:docMk/>
          <pc:sldMk cId="1390059426" sldId="726"/>
        </pc:sldMkLst>
      </pc:sldChg>
      <pc:sldChg chg="add del">
        <pc:chgData name="Eileen Fleming Suse" userId="S::efs3844@ads.northwestern.edu::725c94ef-d051-42d7-9d33-8572765d592b" providerId="AD" clId="Web-{8544FFE2-8133-585B-66CC-2C8177C23087}" dt="2023-11-17T20:58:42.649" v="274"/>
        <pc:sldMkLst>
          <pc:docMk/>
          <pc:sldMk cId="2780552259" sldId="727"/>
        </pc:sldMkLst>
      </pc:sldChg>
      <pc:sldChg chg="add">
        <pc:chgData name="Eileen Fleming Suse" userId="S::efs3844@ads.northwestern.edu::725c94ef-d051-42d7-9d33-8572765d592b" providerId="AD" clId="Web-{8544FFE2-8133-585B-66CC-2C8177C23087}" dt="2023-11-17T20:58:54.384" v="295"/>
        <pc:sldMkLst>
          <pc:docMk/>
          <pc:sldMk cId="3339906105" sldId="727"/>
        </pc:sldMkLst>
      </pc:sldChg>
      <pc:sldChg chg="add del">
        <pc:chgData name="Eileen Fleming Suse" userId="S::efs3844@ads.northwestern.edu::725c94ef-d051-42d7-9d33-8572765d592b" providerId="AD" clId="Web-{8544FFE2-8133-585B-66CC-2C8177C23087}" dt="2023-11-17T20:58:42.649" v="273"/>
        <pc:sldMkLst>
          <pc:docMk/>
          <pc:sldMk cId="183225558" sldId="728"/>
        </pc:sldMkLst>
      </pc:sldChg>
      <pc:sldChg chg="add">
        <pc:chgData name="Eileen Fleming Suse" userId="S::efs3844@ads.northwestern.edu::725c94ef-d051-42d7-9d33-8572765d592b" providerId="AD" clId="Web-{8544FFE2-8133-585B-66CC-2C8177C23087}" dt="2023-11-17T20:58:55.509" v="296"/>
        <pc:sldMkLst>
          <pc:docMk/>
          <pc:sldMk cId="2917591221" sldId="728"/>
        </pc:sldMkLst>
      </pc:sldChg>
      <pc:sldChg chg="add">
        <pc:chgData name="Eileen Fleming Suse" userId="S::efs3844@ads.northwestern.edu::725c94ef-d051-42d7-9d33-8572765d592b" providerId="AD" clId="Web-{8544FFE2-8133-585B-66CC-2C8177C23087}" dt="2023-11-17T20:58:56.759" v="297"/>
        <pc:sldMkLst>
          <pc:docMk/>
          <pc:sldMk cId="3429336150" sldId="729"/>
        </pc:sldMkLst>
      </pc:sldChg>
      <pc:sldChg chg="add del">
        <pc:chgData name="Eileen Fleming Suse" userId="S::efs3844@ads.northwestern.edu::725c94ef-d051-42d7-9d33-8572765d592b" providerId="AD" clId="Web-{8544FFE2-8133-585B-66CC-2C8177C23087}" dt="2023-11-17T20:58:42.649" v="272"/>
        <pc:sldMkLst>
          <pc:docMk/>
          <pc:sldMk cId="4172633609" sldId="729"/>
        </pc:sldMkLst>
      </pc:sldChg>
      <pc:sldChg chg="add">
        <pc:chgData name="Eileen Fleming Suse" userId="S::efs3844@ads.northwestern.edu::725c94ef-d051-42d7-9d33-8572765d592b" providerId="AD" clId="Web-{8544FFE2-8133-585B-66CC-2C8177C23087}" dt="2023-11-17T20:58:57.915" v="298"/>
        <pc:sldMkLst>
          <pc:docMk/>
          <pc:sldMk cId="1617559145" sldId="730"/>
        </pc:sldMkLst>
      </pc:sldChg>
      <pc:sldChg chg="add del">
        <pc:chgData name="Eileen Fleming Suse" userId="S::efs3844@ads.northwestern.edu::725c94ef-d051-42d7-9d33-8572765d592b" providerId="AD" clId="Web-{8544FFE2-8133-585B-66CC-2C8177C23087}" dt="2023-11-17T20:58:42.649" v="271"/>
        <pc:sldMkLst>
          <pc:docMk/>
          <pc:sldMk cId="3976055548" sldId="730"/>
        </pc:sldMkLst>
      </pc:sldChg>
      <pc:sldChg chg="add del">
        <pc:chgData name="Eileen Fleming Suse" userId="S::efs3844@ads.northwestern.edu::725c94ef-d051-42d7-9d33-8572765d592b" providerId="AD" clId="Web-{8544FFE2-8133-585B-66CC-2C8177C23087}" dt="2023-11-17T20:58:42.649" v="270"/>
        <pc:sldMkLst>
          <pc:docMk/>
          <pc:sldMk cId="2494894513" sldId="731"/>
        </pc:sldMkLst>
      </pc:sldChg>
      <pc:sldChg chg="add">
        <pc:chgData name="Eileen Fleming Suse" userId="S::efs3844@ads.northwestern.edu::725c94ef-d051-42d7-9d33-8572765d592b" providerId="AD" clId="Web-{8544FFE2-8133-585B-66CC-2C8177C23087}" dt="2023-11-17T20:58:58.978" v="299"/>
        <pc:sldMkLst>
          <pc:docMk/>
          <pc:sldMk cId="2888392633" sldId="731"/>
        </pc:sldMkLst>
      </pc:sldChg>
      <pc:sldChg chg="add">
        <pc:chgData name="Eileen Fleming Suse" userId="S::efs3844@ads.northwestern.edu::725c94ef-d051-42d7-9d33-8572765d592b" providerId="AD" clId="Web-{8544FFE2-8133-585B-66CC-2C8177C23087}" dt="2023-11-17T20:58:59.993" v="300"/>
        <pc:sldMkLst>
          <pc:docMk/>
          <pc:sldMk cId="1046854343" sldId="732"/>
        </pc:sldMkLst>
      </pc:sldChg>
      <pc:sldChg chg="add del">
        <pc:chgData name="Eileen Fleming Suse" userId="S::efs3844@ads.northwestern.edu::725c94ef-d051-42d7-9d33-8572765d592b" providerId="AD" clId="Web-{8544FFE2-8133-585B-66CC-2C8177C23087}" dt="2023-11-17T20:58:42.649" v="269"/>
        <pc:sldMkLst>
          <pc:docMk/>
          <pc:sldMk cId="1408081084" sldId="732"/>
        </pc:sldMkLst>
      </pc:sldChg>
      <pc:sldChg chg="add">
        <pc:chgData name="Eileen Fleming Suse" userId="S::efs3844@ads.northwestern.edu::725c94ef-d051-42d7-9d33-8572765d592b" providerId="AD" clId="Web-{8544FFE2-8133-585B-66CC-2C8177C23087}" dt="2023-11-17T20:59:01.025" v="301"/>
        <pc:sldMkLst>
          <pc:docMk/>
          <pc:sldMk cId="1800188643" sldId="733"/>
        </pc:sldMkLst>
      </pc:sldChg>
      <pc:sldChg chg="add del">
        <pc:chgData name="Eileen Fleming Suse" userId="S::efs3844@ads.northwestern.edu::725c94ef-d051-42d7-9d33-8572765d592b" providerId="AD" clId="Web-{8544FFE2-8133-585B-66CC-2C8177C23087}" dt="2023-11-17T20:58:42.633" v="268"/>
        <pc:sldMkLst>
          <pc:docMk/>
          <pc:sldMk cId="3415454204" sldId="733"/>
        </pc:sldMkLst>
      </pc:sldChg>
      <pc:sldChg chg="add del">
        <pc:chgData name="Eileen Fleming Suse" userId="S::efs3844@ads.northwestern.edu::725c94ef-d051-42d7-9d33-8572765d592b" providerId="AD" clId="Web-{8544FFE2-8133-585B-66CC-2C8177C23087}" dt="2023-11-17T20:58:42.633" v="267"/>
        <pc:sldMkLst>
          <pc:docMk/>
          <pc:sldMk cId="2901813020" sldId="734"/>
        </pc:sldMkLst>
      </pc:sldChg>
      <pc:sldChg chg="add">
        <pc:chgData name="Eileen Fleming Suse" userId="S::efs3844@ads.northwestern.edu::725c94ef-d051-42d7-9d33-8572765d592b" providerId="AD" clId="Web-{8544FFE2-8133-585B-66CC-2C8177C23087}" dt="2023-11-17T20:59:02.118" v="302"/>
        <pc:sldMkLst>
          <pc:docMk/>
          <pc:sldMk cId="2965389356" sldId="734"/>
        </pc:sldMkLst>
      </pc:sldChg>
      <pc:sldChg chg="add">
        <pc:chgData name="Eileen Fleming Suse" userId="S::efs3844@ads.northwestern.edu::725c94ef-d051-42d7-9d33-8572765d592b" providerId="AD" clId="Web-{8544FFE2-8133-585B-66CC-2C8177C23087}" dt="2023-11-17T20:59:03.040" v="303"/>
        <pc:sldMkLst>
          <pc:docMk/>
          <pc:sldMk cId="2012107243" sldId="735"/>
        </pc:sldMkLst>
      </pc:sldChg>
      <pc:sldChg chg="add del">
        <pc:chgData name="Eileen Fleming Suse" userId="S::efs3844@ads.northwestern.edu::725c94ef-d051-42d7-9d33-8572765d592b" providerId="AD" clId="Web-{8544FFE2-8133-585B-66CC-2C8177C23087}" dt="2023-11-17T20:58:42.633" v="266"/>
        <pc:sldMkLst>
          <pc:docMk/>
          <pc:sldMk cId="3503736368" sldId="735"/>
        </pc:sldMkLst>
      </pc:sldChg>
      <pc:sldChg chg="addSp delSp modSp new mod setBg">
        <pc:chgData name="Eileen Fleming Suse" userId="S::efs3844@ads.northwestern.edu::725c94ef-d051-42d7-9d33-8572765d592b" providerId="AD" clId="Web-{8544FFE2-8133-585B-66CC-2C8177C23087}" dt="2023-11-18T01:35:19.154" v="358"/>
        <pc:sldMkLst>
          <pc:docMk/>
          <pc:sldMk cId="1811019117" sldId="736"/>
        </pc:sldMkLst>
        <pc:spChg chg="mod">
          <ac:chgData name="Eileen Fleming Suse" userId="S::efs3844@ads.northwestern.edu::725c94ef-d051-42d7-9d33-8572765d592b" providerId="AD" clId="Web-{8544FFE2-8133-585B-66CC-2C8177C23087}" dt="2023-11-18T01:34:24.309" v="357"/>
          <ac:spMkLst>
            <pc:docMk/>
            <pc:sldMk cId="1811019117" sldId="736"/>
            <ac:spMk id="2" creationId="{EBCC4529-5171-41EF-E242-F4836E180A4C}"/>
          </ac:spMkLst>
        </pc:spChg>
        <pc:spChg chg="del mod">
          <ac:chgData name="Eileen Fleming Suse" userId="S::efs3844@ads.northwestern.edu::725c94ef-d051-42d7-9d33-8572765d592b" providerId="AD" clId="Web-{8544FFE2-8133-585B-66CC-2C8177C23087}" dt="2023-11-18T01:34:24.309" v="357"/>
          <ac:spMkLst>
            <pc:docMk/>
            <pc:sldMk cId="1811019117" sldId="736"/>
            <ac:spMk id="3" creationId="{A78DE4B8-B128-70E9-2028-E8A6182E7358}"/>
          </ac:spMkLst>
        </pc:spChg>
        <pc:spChg chg="mod">
          <ac:chgData name="Eileen Fleming Suse" userId="S::efs3844@ads.northwestern.edu::725c94ef-d051-42d7-9d33-8572765d592b" providerId="AD" clId="Web-{8544FFE2-8133-585B-66CC-2C8177C23087}" dt="2023-11-18T01:34:24.309" v="357"/>
          <ac:spMkLst>
            <pc:docMk/>
            <pc:sldMk cId="1811019117" sldId="736"/>
            <ac:spMk id="4" creationId="{B7FB3513-4113-97AC-358F-AD6038A13085}"/>
          </ac:spMkLst>
        </pc:spChg>
        <pc:spChg chg="mod">
          <ac:chgData name="Eileen Fleming Suse" userId="S::efs3844@ads.northwestern.edu::725c94ef-d051-42d7-9d33-8572765d592b" providerId="AD" clId="Web-{8544FFE2-8133-585B-66CC-2C8177C23087}" dt="2023-11-18T01:34:24.309" v="357"/>
          <ac:spMkLst>
            <pc:docMk/>
            <pc:sldMk cId="1811019117" sldId="736"/>
            <ac:spMk id="5" creationId="{100B16C8-06BE-BEDF-FCE3-9542B0274043}"/>
          </ac:spMkLst>
        </pc:spChg>
        <pc:spChg chg="add">
          <ac:chgData name="Eileen Fleming Suse" userId="S::efs3844@ads.northwestern.edu::725c94ef-d051-42d7-9d33-8572765d592b" providerId="AD" clId="Web-{8544FFE2-8133-585B-66CC-2C8177C23087}" dt="2023-11-18T01:34:24.309" v="357"/>
          <ac:spMkLst>
            <pc:docMk/>
            <pc:sldMk cId="1811019117" sldId="736"/>
            <ac:spMk id="11" creationId="{C5278130-DFE0-457B-8698-88DF69019DDE}"/>
          </ac:spMkLst>
        </pc:spChg>
        <pc:spChg chg="add">
          <ac:chgData name="Eileen Fleming Suse" userId="S::efs3844@ads.northwestern.edu::725c94ef-d051-42d7-9d33-8572765d592b" providerId="AD" clId="Web-{8544FFE2-8133-585B-66CC-2C8177C23087}" dt="2023-11-18T01:34:24.309" v="357"/>
          <ac:spMkLst>
            <pc:docMk/>
            <pc:sldMk cId="1811019117" sldId="736"/>
            <ac:spMk id="13" creationId="{2F99531B-1681-4D6E-BECB-18325B33A618}"/>
          </ac:spMkLst>
        </pc:spChg>
        <pc:spChg chg="add">
          <ac:chgData name="Eileen Fleming Suse" userId="S::efs3844@ads.northwestern.edu::725c94ef-d051-42d7-9d33-8572765d592b" providerId="AD" clId="Web-{8544FFE2-8133-585B-66CC-2C8177C23087}" dt="2023-11-18T01:34:24.309" v="357"/>
          <ac:spMkLst>
            <pc:docMk/>
            <pc:sldMk cId="1811019117" sldId="736"/>
            <ac:spMk id="15" creationId="{20344094-430A-400B-804B-910E696A1A90}"/>
          </ac:spMkLst>
        </pc:spChg>
        <pc:spChg chg="add">
          <ac:chgData name="Eileen Fleming Suse" userId="S::efs3844@ads.northwestern.edu::725c94ef-d051-42d7-9d33-8572765d592b" providerId="AD" clId="Web-{8544FFE2-8133-585B-66CC-2C8177C23087}" dt="2023-11-18T01:34:24.309" v="357"/>
          <ac:spMkLst>
            <pc:docMk/>
            <pc:sldMk cId="1811019117" sldId="736"/>
            <ac:spMk id="17" creationId="{453C67DF-7782-4E57-AB9B-F1B4811AD8FE}"/>
          </ac:spMkLst>
        </pc:spChg>
        <pc:graphicFrameChg chg="add modGraphic">
          <ac:chgData name="Eileen Fleming Suse" userId="S::efs3844@ads.northwestern.edu::725c94ef-d051-42d7-9d33-8572765d592b" providerId="AD" clId="Web-{8544FFE2-8133-585B-66CC-2C8177C23087}" dt="2023-11-18T01:35:19.154" v="358"/>
          <ac:graphicFrameMkLst>
            <pc:docMk/>
            <pc:sldMk cId="1811019117" sldId="736"/>
            <ac:graphicFrameMk id="7" creationId="{7A2359A2-13A0-13F8-9703-E546D92B0B98}"/>
          </ac:graphicFrameMkLst>
        </pc:graphicFrameChg>
        <pc:cxnChg chg="add">
          <ac:chgData name="Eileen Fleming Suse" userId="S::efs3844@ads.northwestern.edu::725c94ef-d051-42d7-9d33-8572765d592b" providerId="AD" clId="Web-{8544FFE2-8133-585B-66CC-2C8177C23087}" dt="2023-11-18T01:34:24.309" v="357"/>
          <ac:cxnSpMkLst>
            <pc:docMk/>
            <pc:sldMk cId="1811019117" sldId="736"/>
            <ac:cxnSpMk id="19" creationId="{B03A5AE3-BD30-455C-842B-7626C8BEF097}"/>
          </ac:cxnSpMkLst>
        </pc:cxnChg>
        <pc:cxnChg chg="add">
          <ac:chgData name="Eileen Fleming Suse" userId="S::efs3844@ads.northwestern.edu::725c94ef-d051-42d7-9d33-8572765d592b" providerId="AD" clId="Web-{8544FFE2-8133-585B-66CC-2C8177C23087}" dt="2023-11-18T01:34:24.309" v="357"/>
          <ac:cxnSpMkLst>
            <pc:docMk/>
            <pc:sldMk cId="1811019117" sldId="736"/>
            <ac:cxnSpMk id="21" creationId="{2DBECAA5-1F2D-470D-875C-8F2C2CA3E54B}"/>
          </ac:cxnSpMkLst>
        </pc:cxnChg>
      </pc:sldChg>
      <pc:sldChg chg="add">
        <pc:chgData name="Eileen Fleming Suse" userId="S::efs3844@ads.northwestern.edu::725c94ef-d051-42d7-9d33-8572765d592b" providerId="AD" clId="Web-{8544FFE2-8133-585B-66CC-2C8177C23087}" dt="2023-11-18T01:37:30.204" v="360"/>
        <pc:sldMkLst>
          <pc:docMk/>
          <pc:sldMk cId="1141813547" sldId="737"/>
        </pc:sldMkLst>
      </pc:sldChg>
      <pc:sldMasterChg chg="addSldLayout delSldLayout">
        <pc:chgData name="Eileen Fleming Suse" userId="S::efs3844@ads.northwestern.edu::725c94ef-d051-42d7-9d33-8572765d592b" providerId="AD" clId="Web-{8544FFE2-8133-585B-66CC-2C8177C23087}" dt="2023-11-17T20:58:42.633" v="266"/>
        <pc:sldMasterMkLst>
          <pc:docMk/>
          <pc:sldMasterMk cId="0" sldId="2147483648"/>
        </pc:sldMasterMkLst>
        <pc:sldLayoutChg chg="add del replId">
          <pc:chgData name="Eileen Fleming Suse" userId="S::efs3844@ads.northwestern.edu::725c94ef-d051-42d7-9d33-8572765d592b" providerId="AD" clId="Web-{8544FFE2-8133-585B-66CC-2C8177C23087}" dt="2023-11-17T20:58:42.633" v="266"/>
          <pc:sldLayoutMkLst>
            <pc:docMk/>
            <pc:sldMasterMk cId="0" sldId="2147483648"/>
            <pc:sldLayoutMk cId="2292398128" sldId="2147488080"/>
          </pc:sldLayoutMkLst>
        </pc:sldLayoutChg>
      </pc:sldMasterChg>
      <pc:sldMasterChg chg="addSldLayout">
        <pc:chgData name="Eileen Fleming Suse" userId="S::efs3844@ads.northwestern.edu::725c94ef-d051-42d7-9d33-8572765d592b" providerId="AD" clId="Web-{8544FFE2-8133-585B-66CC-2C8177C23087}" dt="2023-11-17T20:16:43.125" v="55"/>
        <pc:sldMasterMkLst>
          <pc:docMk/>
          <pc:sldMasterMk cId="3378073280" sldId="2147483756"/>
        </pc:sldMasterMkLst>
        <pc:sldLayoutChg chg="add replId">
          <pc:chgData name="Eileen Fleming Suse" userId="S::efs3844@ads.northwestern.edu::725c94ef-d051-42d7-9d33-8572765d592b" providerId="AD" clId="Web-{8544FFE2-8133-585B-66CC-2C8177C23087}" dt="2023-11-17T20:16:43.125" v="55"/>
          <pc:sldLayoutMkLst>
            <pc:docMk/>
            <pc:sldMasterMk cId="3378073280" sldId="2147483756"/>
            <pc:sldLayoutMk cId="3016851664" sldId="2147488079"/>
          </pc:sldLayoutMkLst>
        </pc:sldLayoutChg>
      </pc:sldMasterChg>
    </pc:docChg>
  </pc:docChgLst>
  <pc:docChgLst>
    <pc:chgData name="Alana Rivera" userId="S::arg3669@ads.northwestern.edu::fc8b707a-b7e9-4f2a-8d71-2d76819b7881" providerId="AD" clId="Web-{B4964270-B086-4309-6459-65EA28D1CB38}"/>
    <pc:docChg chg="delSld modSld">
      <pc:chgData name="Alana Rivera" userId="S::arg3669@ads.northwestern.edu::fc8b707a-b7e9-4f2a-8d71-2d76819b7881" providerId="AD" clId="Web-{B4964270-B086-4309-6459-65EA28D1CB38}" dt="2023-10-26T06:44:01.652" v="2"/>
      <pc:docMkLst>
        <pc:docMk/>
      </pc:docMkLst>
      <pc:sldChg chg="modSp">
        <pc:chgData name="Alana Rivera" userId="S::arg3669@ads.northwestern.edu::fc8b707a-b7e9-4f2a-8d71-2d76819b7881" providerId="AD" clId="Web-{B4964270-B086-4309-6459-65EA28D1CB38}" dt="2023-10-26T05:22:48.823" v="1" actId="14100"/>
        <pc:sldMkLst>
          <pc:docMk/>
          <pc:sldMk cId="2564870475" sldId="566"/>
        </pc:sldMkLst>
        <pc:spChg chg="mod">
          <ac:chgData name="Alana Rivera" userId="S::arg3669@ads.northwestern.edu::fc8b707a-b7e9-4f2a-8d71-2d76819b7881" providerId="AD" clId="Web-{B4964270-B086-4309-6459-65EA28D1CB38}" dt="2023-10-26T05:22:48.823" v="1" actId="14100"/>
          <ac:spMkLst>
            <pc:docMk/>
            <pc:sldMk cId="2564870475" sldId="566"/>
            <ac:spMk id="11" creationId="{00000000-0000-0000-0000-000000000000}"/>
          </ac:spMkLst>
        </pc:spChg>
      </pc:sldChg>
      <pc:sldChg chg="del">
        <pc:chgData name="Alana Rivera" userId="S::arg3669@ads.northwestern.edu::fc8b707a-b7e9-4f2a-8d71-2d76819b7881" providerId="AD" clId="Web-{B4964270-B086-4309-6459-65EA28D1CB38}" dt="2023-10-26T06:44:01.652" v="2"/>
        <pc:sldMkLst>
          <pc:docMk/>
          <pc:sldMk cId="4290994232" sldId="578"/>
        </pc:sldMkLst>
      </pc:sldChg>
    </pc:docChg>
  </pc:docChgLst>
  <pc:docChgLst>
    <pc:chgData name="Alana Rivera" userId="S::arg3669@ads.northwestern.edu::fc8b707a-b7e9-4f2a-8d71-2d76819b7881" providerId="AD" clId="Web-{FC194283-EEC6-0521-D05D-577D27A78776}"/>
    <pc:docChg chg="modSld">
      <pc:chgData name="Alana Rivera" userId="S::arg3669@ads.northwestern.edu::fc8b707a-b7e9-4f2a-8d71-2d76819b7881" providerId="AD" clId="Web-{FC194283-EEC6-0521-D05D-577D27A78776}" dt="2023-10-30T20:28:42.508" v="163" actId="20577"/>
      <pc:docMkLst>
        <pc:docMk/>
      </pc:docMkLst>
      <pc:sldChg chg="delCm">
        <pc:chgData name="Alana Rivera" userId="S::arg3669@ads.northwestern.edu::fc8b707a-b7e9-4f2a-8d71-2d76819b7881" providerId="AD" clId="Web-{FC194283-EEC6-0521-D05D-577D27A78776}" dt="2023-10-30T19:50:20.612" v="0"/>
        <pc:sldMkLst>
          <pc:docMk/>
          <pc:sldMk cId="3127921386" sldId="280"/>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19:50:20.612" v="0"/>
              <pc2:cmMkLst xmlns:pc2="http://schemas.microsoft.com/office/powerpoint/2019/9/main/command">
                <pc:docMk/>
                <pc:sldMk cId="3127921386" sldId="280"/>
                <pc2:cmMk id="{78C9B980-2656-432B-BA11-07ACE79B211F}"/>
              </pc2:cmMkLst>
            </pc226:cmChg>
          </p:ext>
        </pc:extLst>
      </pc:sldChg>
      <pc:sldChg chg="modSp delCm">
        <pc:chgData name="Alana Rivera" userId="S::arg3669@ads.northwestern.edu::fc8b707a-b7e9-4f2a-8d71-2d76819b7881" providerId="AD" clId="Web-{FC194283-EEC6-0521-D05D-577D27A78776}" dt="2023-10-30T20:28:42.508" v="163" actId="20577"/>
        <pc:sldMkLst>
          <pc:docMk/>
          <pc:sldMk cId="4044691067" sldId="283"/>
        </pc:sldMkLst>
        <pc:spChg chg="mod">
          <ac:chgData name="Alana Rivera" userId="S::arg3669@ads.northwestern.edu::fc8b707a-b7e9-4f2a-8d71-2d76819b7881" providerId="AD" clId="Web-{FC194283-EEC6-0521-D05D-577D27A78776}" dt="2023-10-30T20:16:51.612" v="107" actId="14100"/>
          <ac:spMkLst>
            <pc:docMk/>
            <pc:sldMk cId="4044691067" sldId="283"/>
            <ac:spMk id="2" creationId="{00000000-0000-0000-0000-000000000000}"/>
          </ac:spMkLst>
        </pc:spChg>
        <pc:spChg chg="mod">
          <ac:chgData name="Alana Rivera" userId="S::arg3669@ads.northwestern.edu::fc8b707a-b7e9-4f2a-8d71-2d76819b7881" providerId="AD" clId="Web-{FC194283-EEC6-0521-D05D-577D27A78776}" dt="2023-10-30T20:28:42.508" v="163" actId="20577"/>
          <ac:spMkLst>
            <pc:docMk/>
            <pc:sldMk cId="4044691067" sldId="283"/>
            <ac:spMk id="3" creationId="{00000000-0000-0000-0000-000000000000}"/>
          </ac:spMkLst>
        </pc:spChg>
        <pc:spChg chg="mod">
          <ac:chgData name="Alana Rivera" userId="S::arg3669@ads.northwestern.edu::fc8b707a-b7e9-4f2a-8d71-2d76819b7881" providerId="AD" clId="Web-{FC194283-EEC6-0521-D05D-577D27A78776}" dt="2023-10-30T20:16:22.283" v="101" actId="1076"/>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20:25:18.096" v="146"/>
              <pc2:cmMkLst xmlns:pc2="http://schemas.microsoft.com/office/powerpoint/2019/9/main/command">
                <pc:docMk/>
                <pc:sldMk cId="4044691067" sldId="283"/>
                <pc2:cmMk id="{51D99AE4-D60E-4433-99C8-10E7EA141D41}"/>
              </pc2:cmMkLst>
            </pc226:cmChg>
          </p:ext>
        </pc:extLst>
      </pc:sldChg>
      <pc:sldChg chg="modSp">
        <pc:chgData name="Alana Rivera" userId="S::arg3669@ads.northwestern.edu::fc8b707a-b7e9-4f2a-8d71-2d76819b7881" providerId="AD" clId="Web-{FC194283-EEC6-0521-D05D-577D27A78776}" dt="2023-10-30T19:53:52.196" v="7"/>
        <pc:sldMkLst>
          <pc:docMk/>
          <pc:sldMk cId="3004937174" sldId="565"/>
        </pc:sldMkLst>
        <pc:spChg chg="mod">
          <ac:chgData name="Alana Rivera" userId="S::arg3669@ads.northwestern.edu::fc8b707a-b7e9-4f2a-8d71-2d76819b7881" providerId="AD" clId="Web-{FC194283-EEC6-0521-D05D-577D27A78776}" dt="2023-10-30T19:53:52.196" v="7"/>
          <ac:spMkLst>
            <pc:docMk/>
            <pc:sldMk cId="3004937174" sldId="565"/>
            <ac:spMk id="10" creationId="{00000000-0000-0000-0000-000000000000}"/>
          </ac:spMkLst>
        </pc:spChg>
      </pc:sldChg>
      <pc:sldChg chg="addSp modSp">
        <pc:chgData name="Alana Rivera" userId="S::arg3669@ads.northwestern.edu::fc8b707a-b7e9-4f2a-8d71-2d76819b7881" providerId="AD" clId="Web-{FC194283-EEC6-0521-D05D-577D27A78776}" dt="2023-10-30T20:04:05.402" v="58" actId="20577"/>
        <pc:sldMkLst>
          <pc:docMk/>
          <pc:sldMk cId="3419957415" sldId="577"/>
        </pc:sldMkLst>
        <pc:spChg chg="mod">
          <ac:chgData name="Alana Rivera" userId="S::arg3669@ads.northwestern.edu::fc8b707a-b7e9-4f2a-8d71-2d76819b7881" providerId="AD" clId="Web-{FC194283-EEC6-0521-D05D-577D27A78776}" dt="2023-10-30T20:04:05.402" v="58" actId="20577"/>
          <ac:spMkLst>
            <pc:docMk/>
            <pc:sldMk cId="3419957415" sldId="577"/>
            <ac:spMk id="51" creationId="{00000000-0000-0000-0000-000000000000}"/>
          </ac:spMkLst>
        </pc:spChg>
        <pc:spChg chg="mod">
          <ac:chgData name="Alana Rivera" userId="S::arg3669@ads.northwestern.edu::fc8b707a-b7e9-4f2a-8d71-2d76819b7881" providerId="AD" clId="Web-{FC194283-EEC6-0521-D05D-577D27A78776}" dt="2023-10-30T20:04:01.402" v="57" actId="20577"/>
          <ac:spMkLst>
            <pc:docMk/>
            <pc:sldMk cId="3419957415" sldId="577"/>
            <ac:spMk id="52" creationId="{00000000-0000-0000-0000-000000000000}"/>
          </ac:spMkLst>
        </pc:spChg>
        <pc:spChg chg="mod">
          <ac:chgData name="Alana Rivera" userId="S::arg3669@ads.northwestern.edu::fc8b707a-b7e9-4f2a-8d71-2d76819b7881" providerId="AD" clId="Web-{FC194283-EEC6-0521-D05D-577D27A78776}" dt="2023-10-30T20:03:58.183" v="55" actId="20577"/>
          <ac:spMkLst>
            <pc:docMk/>
            <pc:sldMk cId="3419957415" sldId="577"/>
            <ac:spMk id="53" creationId="{00000000-0000-0000-0000-000000000000}"/>
          </ac:spMkLst>
        </pc:spChg>
        <pc:spChg chg="mod">
          <ac:chgData name="Alana Rivera" userId="S::arg3669@ads.northwestern.edu::fc8b707a-b7e9-4f2a-8d71-2d76819b7881" providerId="AD" clId="Web-{FC194283-EEC6-0521-D05D-577D27A78776}" dt="2023-10-30T20:03:46.714" v="52" actId="14100"/>
          <ac:spMkLst>
            <pc:docMk/>
            <pc:sldMk cId="3419957415" sldId="577"/>
            <ac:spMk id="54" creationId="{00000000-0000-0000-0000-000000000000}"/>
          </ac:spMkLst>
        </pc:spChg>
        <pc:spChg chg="mod">
          <ac:chgData name="Alana Rivera" userId="S::arg3669@ads.northwestern.edu::fc8b707a-b7e9-4f2a-8d71-2d76819b7881" providerId="AD" clId="Web-{FC194283-EEC6-0521-D05D-577D27A78776}" dt="2023-10-30T20:03:53.511" v="54" actId="14100"/>
          <ac:spMkLst>
            <pc:docMk/>
            <pc:sldMk cId="3419957415" sldId="577"/>
            <ac:spMk id="57" creationId="{00000000-0000-0000-0000-000000000000}"/>
          </ac:spMkLst>
        </pc:spChg>
        <pc:spChg chg="mod">
          <ac:chgData name="Alana Rivera" userId="S::arg3669@ads.northwestern.edu::fc8b707a-b7e9-4f2a-8d71-2d76819b7881" providerId="AD" clId="Web-{FC194283-EEC6-0521-D05D-577D27A78776}" dt="2023-10-30T20:00:54.053" v="18" actId="20577"/>
          <ac:spMkLst>
            <pc:docMk/>
            <pc:sldMk cId="3419957415" sldId="577"/>
            <ac:spMk id="64" creationId="{CE06DA76-2516-7530-74D6-38D1B1FC6BFE}"/>
          </ac:spMkLst>
        </pc:spChg>
        <pc:spChg chg="add mod">
          <ac:chgData name="Alana Rivera" userId="S::arg3669@ads.northwestern.edu::fc8b707a-b7e9-4f2a-8d71-2d76819b7881" providerId="AD" clId="Web-{FC194283-EEC6-0521-D05D-577D27A78776}" dt="2023-10-30T20:01:02.834" v="20" actId="1076"/>
          <ac:spMkLst>
            <pc:docMk/>
            <pc:sldMk cId="3419957415" sldId="577"/>
            <ac:spMk id="65" creationId="{28CD4543-B35F-C7BE-C5DB-7DF0067C551A}"/>
          </ac:spMkLst>
        </pc:spChg>
      </pc:sldChg>
      <pc:sldChg chg="modSp">
        <pc:chgData name="Alana Rivera" userId="S::arg3669@ads.northwestern.edu::fc8b707a-b7e9-4f2a-8d71-2d76819b7881" providerId="AD" clId="Web-{FC194283-EEC6-0521-D05D-577D27A78776}" dt="2023-10-30T20:01:29.616" v="25" actId="20577"/>
        <pc:sldMkLst>
          <pc:docMk/>
          <pc:sldMk cId="785115983" sldId="578"/>
        </pc:sldMkLst>
        <pc:spChg chg="mod">
          <ac:chgData name="Alana Rivera" userId="S::arg3669@ads.northwestern.edu::fc8b707a-b7e9-4f2a-8d71-2d76819b7881" providerId="AD" clId="Web-{FC194283-EEC6-0521-D05D-577D27A78776}" dt="2023-10-30T20:01:24.991" v="22" actId="20577"/>
          <ac:spMkLst>
            <pc:docMk/>
            <pc:sldMk cId="785115983" sldId="578"/>
            <ac:spMk id="46" creationId="{00000000-0000-0000-0000-000000000000}"/>
          </ac:spMkLst>
        </pc:spChg>
        <pc:spChg chg="mod">
          <ac:chgData name="Alana Rivera" userId="S::arg3669@ads.northwestern.edu::fc8b707a-b7e9-4f2a-8d71-2d76819b7881" providerId="AD" clId="Web-{FC194283-EEC6-0521-D05D-577D27A78776}" dt="2023-10-30T20:01:29.616" v="25" actId="20577"/>
          <ac:spMkLst>
            <pc:docMk/>
            <pc:sldMk cId="785115983" sldId="578"/>
            <ac:spMk id="47" creationId="{00000000-0000-0000-0000-000000000000}"/>
          </ac:spMkLst>
        </pc:spChg>
        <pc:spChg chg="mod">
          <ac:chgData name="Alana Rivera" userId="S::arg3669@ads.northwestern.edu::fc8b707a-b7e9-4f2a-8d71-2d76819b7881" providerId="AD" clId="Web-{FC194283-EEC6-0521-D05D-577D27A78776}" dt="2023-10-30T20:01:28.257" v="24" actId="20577"/>
          <ac:spMkLst>
            <pc:docMk/>
            <pc:sldMk cId="785115983" sldId="578"/>
            <ac:spMk id="50" creationId="{00000000-0000-0000-0000-000000000000}"/>
          </ac:spMkLst>
        </pc:spChg>
      </pc:sldChg>
      <pc:sldChg chg="modSp">
        <pc:chgData name="Alana Rivera" userId="S::arg3669@ads.northwestern.edu::fc8b707a-b7e9-4f2a-8d71-2d76819b7881" providerId="AD" clId="Web-{FC194283-EEC6-0521-D05D-577D27A78776}" dt="2023-10-30T20:01:59.492" v="31"/>
        <pc:sldMkLst>
          <pc:docMk/>
          <pc:sldMk cId="3030449316" sldId="579"/>
        </pc:sldMkLst>
        <pc:spChg chg="mod">
          <ac:chgData name="Alana Rivera" userId="S::arg3669@ads.northwestern.edu::fc8b707a-b7e9-4f2a-8d71-2d76819b7881" providerId="AD" clId="Web-{FC194283-EEC6-0521-D05D-577D27A78776}" dt="2023-10-30T20:01:59.477" v="30"/>
          <ac:spMkLst>
            <pc:docMk/>
            <pc:sldMk cId="3030449316" sldId="579"/>
            <ac:spMk id="4" creationId="{00000000-0000-0000-0000-000000000000}"/>
          </ac:spMkLst>
        </pc:spChg>
        <pc:spChg chg="mod">
          <ac:chgData name="Alana Rivera" userId="S::arg3669@ads.northwestern.edu::fc8b707a-b7e9-4f2a-8d71-2d76819b7881" providerId="AD" clId="Web-{FC194283-EEC6-0521-D05D-577D27A78776}" dt="2023-10-30T20:01:59.492" v="31"/>
          <ac:spMkLst>
            <pc:docMk/>
            <pc:sldMk cId="3030449316" sldId="579"/>
            <ac:spMk id="5" creationId="{00000000-0000-0000-0000-000000000000}"/>
          </ac:spMkLst>
        </pc:spChg>
        <pc:spChg chg="mod">
          <ac:chgData name="Alana Rivera" userId="S::arg3669@ads.northwestern.edu::fc8b707a-b7e9-4f2a-8d71-2d76819b7881" providerId="AD" clId="Web-{FC194283-EEC6-0521-D05D-577D27A78776}" dt="2023-10-30T20:01:40.304" v="26" actId="20577"/>
          <ac:spMkLst>
            <pc:docMk/>
            <pc:sldMk cId="3030449316" sldId="579"/>
            <ac:spMk id="46" creationId="{00000000-0000-0000-0000-000000000000}"/>
          </ac:spMkLst>
        </pc:spChg>
        <pc:spChg chg="mod">
          <ac:chgData name="Alana Rivera" userId="S::arg3669@ads.northwestern.edu::fc8b707a-b7e9-4f2a-8d71-2d76819b7881" providerId="AD" clId="Web-{FC194283-EEC6-0521-D05D-577D27A78776}" dt="2023-10-30T20:01:50.039" v="29" actId="14100"/>
          <ac:spMkLst>
            <pc:docMk/>
            <pc:sldMk cId="3030449316" sldId="579"/>
            <ac:spMk id="47" creationId="{00000000-0000-0000-0000-000000000000}"/>
          </ac:spMkLst>
        </pc:spChg>
        <pc:spChg chg="mod">
          <ac:chgData name="Alana Rivera" userId="S::arg3669@ads.northwestern.edu::fc8b707a-b7e9-4f2a-8d71-2d76819b7881" providerId="AD" clId="Web-{FC194283-EEC6-0521-D05D-577D27A78776}" dt="2023-10-30T20:01:43.664" v="27" actId="20577"/>
          <ac:spMkLst>
            <pc:docMk/>
            <pc:sldMk cId="3030449316" sldId="579"/>
            <ac:spMk id="50" creationId="{00000000-0000-0000-0000-000000000000}"/>
          </ac:spMkLst>
        </pc:spChg>
      </pc:sldChg>
      <pc:sldChg chg="modSp">
        <pc:chgData name="Alana Rivera" userId="S::arg3669@ads.northwestern.edu::fc8b707a-b7e9-4f2a-8d71-2d76819b7881" providerId="AD" clId="Web-{FC194283-EEC6-0521-D05D-577D27A78776}" dt="2023-10-30T20:02:39.259" v="40" actId="20577"/>
        <pc:sldMkLst>
          <pc:docMk/>
          <pc:sldMk cId="4283907660" sldId="580"/>
        </pc:sldMkLst>
        <pc:spChg chg="mod">
          <ac:chgData name="Alana Rivera" userId="S::arg3669@ads.northwestern.edu::fc8b707a-b7e9-4f2a-8d71-2d76819b7881" providerId="AD" clId="Web-{FC194283-EEC6-0521-D05D-577D27A78776}" dt="2023-10-30T20:02:19.508" v="32"/>
          <ac:spMkLst>
            <pc:docMk/>
            <pc:sldMk cId="4283907660" sldId="580"/>
            <ac:spMk id="49" creationId="{00000000-0000-0000-0000-000000000000}"/>
          </ac:spMkLst>
        </pc:spChg>
        <pc:spChg chg="mod">
          <ac:chgData name="Alana Rivera" userId="S::arg3669@ads.northwestern.edu::fc8b707a-b7e9-4f2a-8d71-2d76819b7881" providerId="AD" clId="Web-{FC194283-EEC6-0521-D05D-577D27A78776}" dt="2023-10-30T20:02:19.540" v="33"/>
          <ac:spMkLst>
            <pc:docMk/>
            <pc:sldMk cId="4283907660" sldId="580"/>
            <ac:spMk id="50" creationId="{00000000-0000-0000-0000-000000000000}"/>
          </ac:spMkLst>
        </pc:spChg>
        <pc:spChg chg="mod">
          <ac:chgData name="Alana Rivera" userId="S::arg3669@ads.northwestern.edu::fc8b707a-b7e9-4f2a-8d71-2d76819b7881" providerId="AD" clId="Web-{FC194283-EEC6-0521-D05D-577D27A78776}" dt="2023-10-30T20:02:39.259" v="40" actId="20577"/>
          <ac:spMkLst>
            <pc:docMk/>
            <pc:sldMk cId="4283907660" sldId="580"/>
            <ac:spMk id="60" creationId="{00000000-0000-0000-0000-000000000000}"/>
          </ac:spMkLst>
        </pc:spChg>
        <pc:spChg chg="mod">
          <ac:chgData name="Alana Rivera" userId="S::arg3669@ads.northwestern.edu::fc8b707a-b7e9-4f2a-8d71-2d76819b7881" providerId="AD" clId="Web-{FC194283-EEC6-0521-D05D-577D27A78776}" dt="2023-10-30T20:02:32.149" v="38" actId="20577"/>
          <ac:spMkLst>
            <pc:docMk/>
            <pc:sldMk cId="4283907660" sldId="580"/>
            <ac:spMk id="61" creationId="{00000000-0000-0000-0000-000000000000}"/>
          </ac:spMkLst>
        </pc:spChg>
        <pc:spChg chg="mod">
          <ac:chgData name="Alana Rivera" userId="S::arg3669@ads.northwestern.edu::fc8b707a-b7e9-4f2a-8d71-2d76819b7881" providerId="AD" clId="Web-{FC194283-EEC6-0521-D05D-577D27A78776}" dt="2023-10-30T20:02:37.884" v="39" actId="20577"/>
          <ac:spMkLst>
            <pc:docMk/>
            <pc:sldMk cId="4283907660" sldId="580"/>
            <ac:spMk id="63" creationId="{00000000-0000-0000-0000-000000000000}"/>
          </ac:spMkLst>
        </pc:spChg>
        <pc:spChg chg="mod">
          <ac:chgData name="Alana Rivera" userId="S::arg3669@ads.northwestern.edu::fc8b707a-b7e9-4f2a-8d71-2d76819b7881" providerId="AD" clId="Web-{FC194283-EEC6-0521-D05D-577D27A78776}" dt="2023-10-30T20:02:28.790" v="37" actId="20577"/>
          <ac:spMkLst>
            <pc:docMk/>
            <pc:sldMk cId="4283907660" sldId="580"/>
            <ac:spMk id="64" creationId="{00000000-0000-0000-0000-000000000000}"/>
          </ac:spMkLst>
        </pc:spChg>
        <pc:spChg chg="mod">
          <ac:chgData name="Alana Rivera" userId="S::arg3669@ads.northwestern.edu::fc8b707a-b7e9-4f2a-8d71-2d76819b7881" providerId="AD" clId="Web-{FC194283-EEC6-0521-D05D-577D27A78776}" dt="2023-10-30T20:02:26.305" v="36" actId="20577"/>
          <ac:spMkLst>
            <pc:docMk/>
            <pc:sldMk cId="4283907660" sldId="580"/>
            <ac:spMk id="67" creationId="{00000000-0000-0000-0000-000000000000}"/>
          </ac:spMkLst>
        </pc:spChg>
        <pc:spChg chg="mod">
          <ac:chgData name="Alana Rivera" userId="S::arg3669@ads.northwestern.edu::fc8b707a-b7e9-4f2a-8d71-2d76819b7881" providerId="AD" clId="Web-{FC194283-EEC6-0521-D05D-577D27A78776}" dt="2023-10-30T20:02:25.024" v="35" actId="20577"/>
          <ac:spMkLst>
            <pc:docMk/>
            <pc:sldMk cId="4283907660" sldId="580"/>
            <ac:spMk id="68" creationId="{00000000-0000-0000-0000-000000000000}"/>
          </ac:spMkLst>
        </pc:spChg>
      </pc:sldChg>
      <pc:sldChg chg="addSp modSp">
        <pc:chgData name="Alana Rivera" userId="S::arg3669@ads.northwestern.edu::fc8b707a-b7e9-4f2a-8d71-2d76819b7881" providerId="AD" clId="Web-{FC194283-EEC6-0521-D05D-577D27A78776}" dt="2023-10-30T20:03:32.526" v="50" actId="20577"/>
        <pc:sldMkLst>
          <pc:docMk/>
          <pc:sldMk cId="3429940818" sldId="581"/>
        </pc:sldMkLst>
        <pc:spChg chg="mod">
          <ac:chgData name="Alana Rivera" userId="S::arg3669@ads.northwestern.edu::fc8b707a-b7e9-4f2a-8d71-2d76819b7881" providerId="AD" clId="Web-{FC194283-EEC6-0521-D05D-577D27A78776}" dt="2023-10-30T20:03:00.400" v="42"/>
          <ac:spMkLst>
            <pc:docMk/>
            <pc:sldMk cId="3429940818" sldId="581"/>
            <ac:spMk id="4" creationId="{00000000-0000-0000-0000-000000000000}"/>
          </ac:spMkLst>
        </pc:spChg>
        <pc:spChg chg="mod">
          <ac:chgData name="Alana Rivera" userId="S::arg3669@ads.northwestern.edu::fc8b707a-b7e9-4f2a-8d71-2d76819b7881" providerId="AD" clId="Web-{FC194283-EEC6-0521-D05D-577D27A78776}" dt="2023-10-30T20:03:00.432" v="43"/>
          <ac:spMkLst>
            <pc:docMk/>
            <pc:sldMk cId="3429940818" sldId="581"/>
            <ac:spMk id="5" creationId="{00000000-0000-0000-0000-000000000000}"/>
          </ac:spMkLst>
        </pc:spChg>
        <pc:spChg chg="mod">
          <ac:chgData name="Alana Rivera" userId="S::arg3669@ads.northwestern.edu::fc8b707a-b7e9-4f2a-8d71-2d76819b7881" providerId="AD" clId="Web-{FC194283-EEC6-0521-D05D-577D27A78776}" dt="2023-10-30T20:03:29.604" v="49" actId="20577"/>
          <ac:spMkLst>
            <pc:docMk/>
            <pc:sldMk cId="3429940818" sldId="581"/>
            <ac:spMk id="59" creationId="{00000000-0000-0000-0000-000000000000}"/>
          </ac:spMkLst>
        </pc:spChg>
        <pc:spChg chg="mod">
          <ac:chgData name="Alana Rivera" userId="S::arg3669@ads.northwestern.edu::fc8b707a-b7e9-4f2a-8d71-2d76819b7881" providerId="AD" clId="Web-{FC194283-EEC6-0521-D05D-577D27A78776}" dt="2023-10-30T20:03:32.526" v="50" actId="20577"/>
          <ac:spMkLst>
            <pc:docMk/>
            <pc:sldMk cId="3429940818" sldId="581"/>
            <ac:spMk id="63" creationId="{00000000-0000-0000-0000-000000000000}"/>
          </ac:spMkLst>
        </pc:spChg>
        <pc:spChg chg="mod">
          <ac:chgData name="Alana Rivera" userId="S::arg3669@ads.northwestern.edu::fc8b707a-b7e9-4f2a-8d71-2d76819b7881" providerId="AD" clId="Web-{FC194283-EEC6-0521-D05D-577D27A78776}" dt="2023-10-30T20:03:21.713" v="47" actId="20577"/>
          <ac:spMkLst>
            <pc:docMk/>
            <pc:sldMk cId="3429940818" sldId="581"/>
            <ac:spMk id="64" creationId="{00000000-0000-0000-0000-000000000000}"/>
          </ac:spMkLst>
        </pc:spChg>
        <pc:spChg chg="mod">
          <ac:chgData name="Alana Rivera" userId="S::arg3669@ads.northwestern.edu::fc8b707a-b7e9-4f2a-8d71-2d76819b7881" providerId="AD" clId="Web-{FC194283-EEC6-0521-D05D-577D27A78776}" dt="2023-10-30T20:03:24.745" v="48" actId="20577"/>
          <ac:spMkLst>
            <pc:docMk/>
            <pc:sldMk cId="3429940818" sldId="581"/>
            <ac:spMk id="67" creationId="{00000000-0000-0000-0000-000000000000}"/>
          </ac:spMkLst>
        </pc:spChg>
        <pc:spChg chg="mod">
          <ac:chgData name="Alana Rivera" userId="S::arg3669@ads.northwestern.edu::fc8b707a-b7e9-4f2a-8d71-2d76819b7881" providerId="AD" clId="Web-{FC194283-EEC6-0521-D05D-577D27A78776}" dt="2023-10-30T20:03:17.995" v="46" actId="1076"/>
          <ac:spMkLst>
            <pc:docMk/>
            <pc:sldMk cId="3429940818" sldId="581"/>
            <ac:spMk id="69" creationId="{00000000-0000-0000-0000-000000000000}"/>
          </ac:spMkLst>
        </pc:spChg>
        <pc:spChg chg="mod">
          <ac:chgData name="Alana Rivera" userId="S::arg3669@ads.northwestern.edu::fc8b707a-b7e9-4f2a-8d71-2d76819b7881" providerId="AD" clId="Web-{FC194283-EEC6-0521-D05D-577D27A78776}" dt="2023-10-30T20:02:56.338" v="41" actId="20577"/>
          <ac:spMkLst>
            <pc:docMk/>
            <pc:sldMk cId="3429940818" sldId="581"/>
            <ac:spMk id="70" creationId="{00000000-0000-0000-0000-000000000000}"/>
          </ac:spMkLst>
        </pc:spChg>
        <pc:spChg chg="mod">
          <ac:chgData name="Alana Rivera" userId="S::arg3669@ads.northwestern.edu::fc8b707a-b7e9-4f2a-8d71-2d76819b7881" providerId="AD" clId="Web-{FC194283-EEC6-0521-D05D-577D27A78776}" dt="2023-10-30T20:00:47.334" v="17" actId="20577"/>
          <ac:spMkLst>
            <pc:docMk/>
            <pc:sldMk cId="3429940818" sldId="581"/>
            <ac:spMk id="73" creationId="{1A989E17-799A-6415-ED4B-A44CCA00B657}"/>
          </ac:spMkLst>
        </pc:spChg>
        <pc:spChg chg="add mod">
          <ac:chgData name="Alana Rivera" userId="S::arg3669@ads.northwestern.edu::fc8b707a-b7e9-4f2a-8d71-2d76819b7881" providerId="AD" clId="Web-{FC194283-EEC6-0521-D05D-577D27A78776}" dt="2023-10-30T20:00:44.552" v="16" actId="1076"/>
          <ac:spMkLst>
            <pc:docMk/>
            <pc:sldMk cId="3429940818" sldId="581"/>
            <ac:spMk id="75" creationId="{20D2DCD7-9B15-FB75-E33B-CECC88A394B8}"/>
          </ac:spMkLst>
        </pc:spChg>
      </pc:sldChg>
      <pc:sldChg chg="modSp">
        <pc:chgData name="Alana Rivera" userId="S::arg3669@ads.northwestern.edu::fc8b707a-b7e9-4f2a-8d71-2d76819b7881" providerId="AD" clId="Web-{FC194283-EEC6-0521-D05D-577D27A78776}" dt="2023-10-30T19:54:28.463" v="13"/>
        <pc:sldMkLst>
          <pc:docMk/>
          <pc:sldMk cId="3850125703" sldId="622"/>
        </pc:sldMkLst>
        <pc:spChg chg="mod">
          <ac:chgData name="Alana Rivera" userId="S::arg3669@ads.northwestern.edu::fc8b707a-b7e9-4f2a-8d71-2d76819b7881" providerId="AD" clId="Web-{FC194283-EEC6-0521-D05D-577D27A78776}" dt="2023-10-30T19:54:13.603" v="8"/>
          <ac:spMkLst>
            <pc:docMk/>
            <pc:sldMk cId="3850125703" sldId="622"/>
            <ac:spMk id="43" creationId="{00000000-0000-0000-0000-000000000000}"/>
          </ac:spMkLst>
        </pc:spChg>
        <pc:spChg chg="mod">
          <ac:chgData name="Alana Rivera" userId="S::arg3669@ads.northwestern.edu::fc8b707a-b7e9-4f2a-8d71-2d76819b7881" providerId="AD" clId="Web-{FC194283-EEC6-0521-D05D-577D27A78776}" dt="2023-10-30T19:54:13.619" v="9"/>
          <ac:spMkLst>
            <pc:docMk/>
            <pc:sldMk cId="3850125703" sldId="622"/>
            <ac:spMk id="44" creationId="{00000000-0000-0000-0000-000000000000}"/>
          </ac:spMkLst>
        </pc:spChg>
        <pc:spChg chg="mod">
          <ac:chgData name="Alana Rivera" userId="S::arg3669@ads.northwestern.edu::fc8b707a-b7e9-4f2a-8d71-2d76819b7881" providerId="AD" clId="Web-{FC194283-EEC6-0521-D05D-577D27A78776}" dt="2023-10-30T19:54:28.463" v="13"/>
          <ac:spMkLst>
            <pc:docMk/>
            <pc:sldMk cId="3850125703" sldId="622"/>
            <ac:spMk id="46" creationId="{00000000-0000-0000-0000-000000000000}"/>
          </ac:spMkLst>
        </pc:spChg>
        <pc:spChg chg="mod">
          <ac:chgData name="Alana Rivera" userId="S::arg3669@ads.northwestern.edu::fc8b707a-b7e9-4f2a-8d71-2d76819b7881" providerId="AD" clId="Web-{FC194283-EEC6-0521-D05D-577D27A78776}" dt="2023-10-30T19:54:28.463" v="12"/>
          <ac:spMkLst>
            <pc:docMk/>
            <pc:sldMk cId="3850125703" sldId="622"/>
            <ac:spMk id="47" creationId="{00000000-0000-0000-0000-000000000000}"/>
          </ac:spMkLst>
        </pc:spChg>
        <pc:spChg chg="mod">
          <ac:chgData name="Alana Rivera" userId="S::arg3669@ads.northwestern.edu::fc8b707a-b7e9-4f2a-8d71-2d76819b7881" providerId="AD" clId="Web-{FC194283-EEC6-0521-D05D-577D27A78776}" dt="2023-10-30T19:53:22.024" v="4"/>
          <ac:spMkLst>
            <pc:docMk/>
            <pc:sldMk cId="3850125703" sldId="622"/>
            <ac:spMk id="49" creationId="{00000000-0000-0000-0000-000000000000}"/>
          </ac:spMkLst>
        </pc:spChg>
      </pc:sldChg>
    </pc:docChg>
  </pc:docChgLst>
  <pc:docChgLst>
    <pc:chgData name="Alana Rivera" userId="S::arg3669@ads.northwestern.edu::fc8b707a-b7e9-4f2a-8d71-2d76819b7881" providerId="AD" clId="Web-{300BD813-CD9C-8649-0637-C0ACE24151DD}"/>
    <pc:docChg chg="addSld delSld modSld sldOrd">
      <pc:chgData name="Alana Rivera" userId="S::arg3669@ads.northwestern.edu::fc8b707a-b7e9-4f2a-8d71-2d76819b7881" providerId="AD" clId="Web-{300BD813-CD9C-8649-0637-C0ACE24151DD}" dt="2023-10-26T17:23:46.185" v="32" actId="20577"/>
      <pc:docMkLst>
        <pc:docMk/>
      </pc:docMkLst>
      <pc:sldChg chg="del">
        <pc:chgData name="Alana Rivera" userId="S::arg3669@ads.northwestern.edu::fc8b707a-b7e9-4f2a-8d71-2d76819b7881" providerId="AD" clId="Web-{300BD813-CD9C-8649-0637-C0ACE24151DD}" dt="2023-10-26T17:18:35.956" v="18"/>
        <pc:sldMkLst>
          <pc:docMk/>
          <pc:sldMk cId="2997078466" sldId="557"/>
        </pc:sldMkLst>
      </pc:sldChg>
      <pc:sldChg chg="add del ord">
        <pc:chgData name="Alana Rivera" userId="S::arg3669@ads.northwestern.edu::fc8b707a-b7e9-4f2a-8d71-2d76819b7881" providerId="AD" clId="Web-{300BD813-CD9C-8649-0637-C0ACE24151DD}" dt="2023-10-26T17:21:29.055" v="25"/>
        <pc:sldMkLst>
          <pc:docMk/>
          <pc:sldMk cId="2564870475" sldId="566"/>
        </pc:sldMkLst>
      </pc:sldChg>
      <pc:sldChg chg="add del ord">
        <pc:chgData name="Alana Rivera" userId="S::arg3669@ads.northwestern.edu::fc8b707a-b7e9-4f2a-8d71-2d76819b7881" providerId="AD" clId="Web-{300BD813-CD9C-8649-0637-C0ACE24151DD}" dt="2023-10-26T17:21:29.055" v="24"/>
        <pc:sldMkLst>
          <pc:docMk/>
          <pc:sldMk cId="3419957415" sldId="577"/>
        </pc:sldMkLst>
      </pc:sldChg>
      <pc:sldChg chg="add">
        <pc:chgData name="Alana Rivera" userId="S::arg3669@ads.northwestern.edu::fc8b707a-b7e9-4f2a-8d71-2d76819b7881" providerId="AD" clId="Web-{300BD813-CD9C-8649-0637-C0ACE24151DD}" dt="2023-10-26T17:04:53.337" v="0"/>
        <pc:sldMkLst>
          <pc:docMk/>
          <pc:sldMk cId="785115983" sldId="578"/>
        </pc:sldMkLst>
      </pc:sldChg>
      <pc:sldChg chg="add">
        <pc:chgData name="Alana Rivera" userId="S::arg3669@ads.northwestern.edu::fc8b707a-b7e9-4f2a-8d71-2d76819b7881" providerId="AD" clId="Web-{300BD813-CD9C-8649-0637-C0ACE24151DD}" dt="2023-10-26T17:04:54.196" v="1"/>
        <pc:sldMkLst>
          <pc:docMk/>
          <pc:sldMk cId="3030449316" sldId="579"/>
        </pc:sldMkLst>
      </pc:sldChg>
      <pc:sldChg chg="add">
        <pc:chgData name="Alana Rivera" userId="S::arg3669@ads.northwestern.edu::fc8b707a-b7e9-4f2a-8d71-2d76819b7881" providerId="AD" clId="Web-{300BD813-CD9C-8649-0637-C0ACE24151DD}" dt="2023-10-26T17:04:56.431" v="2"/>
        <pc:sldMkLst>
          <pc:docMk/>
          <pc:sldMk cId="4283907660" sldId="580"/>
        </pc:sldMkLst>
      </pc:sldChg>
      <pc:sldChg chg="add">
        <pc:chgData name="Alana Rivera" userId="S::arg3669@ads.northwestern.edu::fc8b707a-b7e9-4f2a-8d71-2d76819b7881" providerId="AD" clId="Web-{300BD813-CD9C-8649-0637-C0ACE24151DD}" dt="2023-10-26T17:04:59.978" v="3"/>
        <pc:sldMkLst>
          <pc:docMk/>
          <pc:sldMk cId="3429940818" sldId="581"/>
        </pc:sldMkLst>
      </pc:sldChg>
      <pc:sldChg chg="add">
        <pc:chgData name="Alana Rivera" userId="S::arg3669@ads.northwestern.edu::fc8b707a-b7e9-4f2a-8d71-2d76819b7881" providerId="AD" clId="Web-{300BD813-CD9C-8649-0637-C0ACE24151DD}" dt="2023-10-26T17:05:01.665" v="4"/>
        <pc:sldMkLst>
          <pc:docMk/>
          <pc:sldMk cId="4156128006" sldId="582"/>
        </pc:sldMkLst>
      </pc:sldChg>
      <pc:sldChg chg="modSp add">
        <pc:chgData name="Alana Rivera" userId="S::arg3669@ads.northwestern.edu::fc8b707a-b7e9-4f2a-8d71-2d76819b7881" providerId="AD" clId="Web-{300BD813-CD9C-8649-0637-C0ACE24151DD}" dt="2023-10-26T17:23:46.185" v="32" actId="20577"/>
        <pc:sldMkLst>
          <pc:docMk/>
          <pc:sldMk cId="3870927286" sldId="583"/>
        </pc:sldMkLst>
        <pc:spChg chg="mod">
          <ac:chgData name="Alana Rivera" userId="S::arg3669@ads.northwestern.edu::fc8b707a-b7e9-4f2a-8d71-2d76819b7881" providerId="AD" clId="Web-{300BD813-CD9C-8649-0637-C0ACE24151DD}" dt="2023-10-26T17:23:46.185" v="32" actId="20577"/>
          <ac:spMkLst>
            <pc:docMk/>
            <pc:sldMk cId="3870927286" sldId="583"/>
            <ac:spMk id="2" creationId="{00000000-0000-0000-0000-000000000000}"/>
          </ac:spMkLst>
        </pc:spChg>
        <pc:spChg chg="mod">
          <ac:chgData name="Alana Rivera" userId="S::arg3669@ads.northwestern.edu::fc8b707a-b7e9-4f2a-8d71-2d76819b7881" providerId="AD" clId="Web-{300BD813-CD9C-8649-0637-C0ACE24151DD}" dt="2023-10-26T17:18:03.096" v="14" actId="14100"/>
          <ac:spMkLst>
            <pc:docMk/>
            <pc:sldMk cId="3870927286" sldId="583"/>
            <ac:spMk id="13" creationId="{00000000-0000-0000-0000-000000000000}"/>
          </ac:spMkLst>
        </pc:spChg>
        <pc:spChg chg="mod">
          <ac:chgData name="Alana Rivera" userId="S::arg3669@ads.northwestern.edu::fc8b707a-b7e9-4f2a-8d71-2d76819b7881" providerId="AD" clId="Web-{300BD813-CD9C-8649-0637-C0ACE24151DD}" dt="2023-10-26T17:18:12.878" v="15" actId="1076"/>
          <ac:spMkLst>
            <pc:docMk/>
            <pc:sldMk cId="3870927286" sldId="583"/>
            <ac:spMk id="40" creationId="{00000000-0000-0000-0000-000000000000}"/>
          </ac:spMkLst>
        </pc:spChg>
        <pc:grpChg chg="mod">
          <ac:chgData name="Alana Rivera" userId="S::arg3669@ads.northwestern.edu::fc8b707a-b7e9-4f2a-8d71-2d76819b7881" providerId="AD" clId="Web-{300BD813-CD9C-8649-0637-C0ACE24151DD}" dt="2023-10-26T17:18:02.987" v="13" actId="14100"/>
          <ac:grpSpMkLst>
            <pc:docMk/>
            <pc:sldMk cId="3870927286" sldId="583"/>
            <ac:grpSpMk id="6" creationId="{00000000-0000-0000-0000-000000000000}"/>
          </ac:grpSpMkLst>
        </pc:grpChg>
        <pc:grpChg chg="mod">
          <ac:chgData name="Alana Rivera" userId="S::arg3669@ads.northwestern.edu::fc8b707a-b7e9-4f2a-8d71-2d76819b7881" providerId="AD" clId="Web-{300BD813-CD9C-8649-0637-C0ACE24151DD}" dt="2023-10-26T17:18:22.550" v="17" actId="14100"/>
          <ac:grpSpMkLst>
            <pc:docMk/>
            <pc:sldMk cId="3870927286" sldId="583"/>
            <ac:grpSpMk id="15" creationId="{00000000-0000-0000-0000-000000000000}"/>
          </ac:grpSpMkLst>
        </pc:grpChg>
        <pc:grpChg chg="mod">
          <ac:chgData name="Alana Rivera" userId="S::arg3669@ads.northwestern.edu::fc8b707a-b7e9-4f2a-8d71-2d76819b7881" providerId="AD" clId="Web-{300BD813-CD9C-8649-0637-C0ACE24151DD}" dt="2023-10-26T17:17:40.751" v="10" actId="14100"/>
          <ac:grpSpMkLst>
            <pc:docMk/>
            <pc:sldMk cId="3870927286" sldId="583"/>
            <ac:grpSpMk id="33" creationId="{00000000-0000-0000-0000-000000000000}"/>
          </ac:grpSpMkLst>
        </pc:grpChg>
      </pc:sldChg>
      <pc:sldChg chg="add">
        <pc:chgData name="Alana Rivera" userId="S::arg3669@ads.northwestern.edu::fc8b707a-b7e9-4f2a-8d71-2d76819b7881" providerId="AD" clId="Web-{300BD813-CD9C-8649-0637-C0ACE24151DD}" dt="2023-10-26T17:18:48.004" v="19"/>
        <pc:sldMkLst>
          <pc:docMk/>
          <pc:sldMk cId="3573947264" sldId="584"/>
        </pc:sldMkLst>
      </pc:sldChg>
    </pc:docChg>
  </pc:docChgLst>
  <pc:docChgLst>
    <pc:chgData name="Eileen Fleming Suse" userId="S::efs3844@ads.northwestern.edu::725c94ef-d051-42d7-9d33-8572765d592b" providerId="AD" clId="Web-{61DCECB8-FCC4-463F-180A-DE94BEA715D4}"/>
    <pc:docChg chg="addSld delSld modSld">
      <pc:chgData name="Eileen Fleming Suse" userId="S::efs3844@ads.northwestern.edu::725c94ef-d051-42d7-9d33-8572765d592b" providerId="AD" clId="Web-{61DCECB8-FCC4-463F-180A-DE94BEA715D4}" dt="2023-10-30T22:49:41.685" v="398" actId="20577"/>
      <pc:docMkLst>
        <pc:docMk/>
      </pc:docMkLst>
      <pc:sldChg chg="modSp">
        <pc:chgData name="Eileen Fleming Suse" userId="S::efs3844@ads.northwestern.edu::725c94ef-d051-42d7-9d33-8572765d592b" providerId="AD" clId="Web-{61DCECB8-FCC4-463F-180A-DE94BEA715D4}" dt="2023-10-30T20:17:56.590" v="268" actId="1076"/>
        <pc:sldMkLst>
          <pc:docMk/>
          <pc:sldMk cId="4044691067" sldId="283"/>
        </pc:sldMkLst>
        <pc:spChg chg="mod">
          <ac:chgData name="Eileen Fleming Suse" userId="S::efs3844@ads.northwestern.edu::725c94ef-d051-42d7-9d33-8572765d592b" providerId="AD" clId="Web-{61DCECB8-FCC4-463F-180A-DE94BEA715D4}" dt="2023-10-30T20:17:22.746" v="261" actId="1076"/>
          <ac:spMkLst>
            <pc:docMk/>
            <pc:sldMk cId="4044691067" sldId="283"/>
            <ac:spMk id="2" creationId="{00000000-0000-0000-0000-000000000000}"/>
          </ac:spMkLst>
        </pc:spChg>
        <pc:spChg chg="mod">
          <ac:chgData name="Eileen Fleming Suse" userId="S::efs3844@ads.northwestern.edu::725c94ef-d051-42d7-9d33-8572765d592b" providerId="AD" clId="Web-{61DCECB8-FCC4-463F-180A-DE94BEA715D4}" dt="2023-10-30T20:17:54.262" v="267" actId="20577"/>
          <ac:spMkLst>
            <pc:docMk/>
            <pc:sldMk cId="4044691067" sldId="283"/>
            <ac:spMk id="3" creationId="{00000000-0000-0000-0000-000000000000}"/>
          </ac:spMkLst>
        </pc:spChg>
        <pc:spChg chg="mod">
          <ac:chgData name="Eileen Fleming Suse" userId="S::efs3844@ads.northwestern.edu::725c94ef-d051-42d7-9d33-8572765d592b" providerId="AD" clId="Web-{61DCECB8-FCC4-463F-180A-DE94BEA715D4}" dt="2023-10-30T20:17:56.590" v="268" actId="1076"/>
          <ac:spMkLst>
            <pc:docMk/>
            <pc:sldMk cId="4044691067" sldId="283"/>
            <ac:spMk id="16387" creationId="{00000000-0000-0000-0000-000000000000}"/>
          </ac:spMkLst>
        </pc:spChg>
      </pc:sldChg>
      <pc:sldChg chg="addSp delSp modSp del">
        <pc:chgData name="Eileen Fleming Suse" userId="S::efs3844@ads.northwestern.edu::725c94ef-d051-42d7-9d33-8572765d592b" providerId="AD" clId="Web-{61DCECB8-FCC4-463F-180A-DE94BEA715D4}" dt="2023-10-30T22:38:32.619" v="293"/>
        <pc:sldMkLst>
          <pc:docMk/>
          <pc:sldMk cId="2351229145" sldId="544"/>
        </pc:sldMkLst>
        <pc:spChg chg="add del mod">
          <ac:chgData name="Eileen Fleming Suse" userId="S::efs3844@ads.northwestern.edu::725c94ef-d051-42d7-9d33-8572765d592b" providerId="AD" clId="Web-{61DCECB8-FCC4-463F-180A-DE94BEA715D4}" dt="2023-10-30T20:36:38.882" v="271"/>
          <ac:spMkLst>
            <pc:docMk/>
            <pc:sldMk cId="2351229145" sldId="544"/>
            <ac:spMk id="4" creationId="{30128E86-7FC0-DAF8-2B3B-BC30C65B2BC6}"/>
          </ac:spMkLst>
        </pc:spChg>
      </pc:sldChg>
      <pc:sldChg chg="addSp delSp modSp mod setBg">
        <pc:chgData name="Eileen Fleming Suse" userId="S::efs3844@ads.northwestern.edu::725c94ef-d051-42d7-9d33-8572765d592b" providerId="AD" clId="Web-{61DCECB8-FCC4-463F-180A-DE94BEA715D4}" dt="2023-10-30T22:41:05.686" v="304"/>
        <pc:sldMkLst>
          <pc:docMk/>
          <pc:sldMk cId="3635595752" sldId="545"/>
        </pc:sldMkLst>
        <pc:spChg chg="mod">
          <ac:chgData name="Eileen Fleming Suse" userId="S::efs3844@ads.northwestern.edu::725c94ef-d051-42d7-9d33-8572765d592b" providerId="AD" clId="Web-{61DCECB8-FCC4-463F-180A-DE94BEA715D4}" dt="2023-10-30T22:40:13.497" v="300"/>
          <ac:spMkLst>
            <pc:docMk/>
            <pc:sldMk cId="3635595752" sldId="545"/>
            <ac:spMk id="2" creationId="{39AAB3FF-760A-B654-5F1B-78AD5BEB6B57}"/>
          </ac:spMkLst>
        </pc:spChg>
        <pc:spChg chg="mod">
          <ac:chgData name="Eileen Fleming Suse" userId="S::efs3844@ads.northwestern.edu::725c94ef-d051-42d7-9d33-8572765d592b" providerId="AD" clId="Web-{61DCECB8-FCC4-463F-180A-DE94BEA715D4}" dt="2023-10-30T22:40:13.497" v="300"/>
          <ac:spMkLst>
            <pc:docMk/>
            <pc:sldMk cId="3635595752" sldId="545"/>
            <ac:spMk id="3" creationId="{BFE56240-A306-0E11-425A-7323821A42F2}"/>
          </ac:spMkLst>
        </pc:spChg>
        <pc:spChg chg="add">
          <ac:chgData name="Eileen Fleming Suse" userId="S::efs3844@ads.northwestern.edu::725c94ef-d051-42d7-9d33-8572765d592b" providerId="AD" clId="Web-{61DCECB8-FCC4-463F-180A-DE94BEA715D4}" dt="2023-10-30T22:40:13.497" v="300"/>
          <ac:spMkLst>
            <pc:docMk/>
            <pc:sldMk cId="3635595752" sldId="545"/>
            <ac:spMk id="9" creationId="{4FA4E651-C3D8-4DB8-A026-E8531C6AFACC}"/>
          </ac:spMkLst>
        </pc:spChg>
        <pc:picChg chg="add mod">
          <ac:chgData name="Eileen Fleming Suse" userId="S::efs3844@ads.northwestern.edu::725c94ef-d051-42d7-9d33-8572765d592b" providerId="AD" clId="Web-{61DCECB8-FCC4-463F-180A-DE94BEA715D4}" dt="2023-10-30T22:40:13.497" v="300"/>
          <ac:picMkLst>
            <pc:docMk/>
            <pc:sldMk cId="3635595752" sldId="545"/>
            <ac:picMk id="4" creationId="{6982FC6C-870A-2D17-4241-681C88EEE4A9}"/>
          </ac:picMkLst>
        </pc:picChg>
        <pc:picChg chg="add del mod">
          <ac:chgData name="Eileen Fleming Suse" userId="S::efs3844@ads.northwestern.edu::725c94ef-d051-42d7-9d33-8572765d592b" providerId="AD" clId="Web-{61DCECB8-FCC4-463F-180A-DE94BEA715D4}" dt="2023-10-30T22:41:05.686" v="304"/>
          <ac:picMkLst>
            <pc:docMk/>
            <pc:sldMk cId="3635595752" sldId="545"/>
            <ac:picMk id="5" creationId="{1419DCC6-DC00-7882-A9B3-86F4E9C29BF1}"/>
          </ac:picMkLst>
        </pc:picChg>
      </pc:sldChg>
      <pc:sldChg chg="addSp modSp mod setBg addAnim">
        <pc:chgData name="Eileen Fleming Suse" userId="S::efs3844@ads.northwestern.edu::725c94ef-d051-42d7-9d33-8572765d592b" providerId="AD" clId="Web-{61DCECB8-FCC4-463F-180A-DE94BEA715D4}" dt="2023-10-30T22:47:53.463" v="364" actId="20577"/>
        <pc:sldMkLst>
          <pc:docMk/>
          <pc:sldMk cId="1036043289" sldId="546"/>
        </pc:sldMkLst>
        <pc:spChg chg="mod">
          <ac:chgData name="Eileen Fleming Suse" userId="S::efs3844@ads.northwestern.edu::725c94ef-d051-42d7-9d33-8572765d592b" providerId="AD" clId="Web-{61DCECB8-FCC4-463F-180A-DE94BEA715D4}" dt="2023-10-30T22:46:29.367" v="353"/>
          <ac:spMkLst>
            <pc:docMk/>
            <pc:sldMk cId="1036043289" sldId="546"/>
            <ac:spMk id="2" creationId="{67E16CF5-47C8-BEAD-25F8-81514DC0AF8B}"/>
          </ac:spMkLst>
        </pc:spChg>
        <pc:spChg chg="mod">
          <ac:chgData name="Eileen Fleming Suse" userId="S::efs3844@ads.northwestern.edu::725c94ef-d051-42d7-9d33-8572765d592b" providerId="AD" clId="Web-{61DCECB8-FCC4-463F-180A-DE94BEA715D4}" dt="2023-10-30T22:47:53.463" v="364" actId="20577"/>
          <ac:spMkLst>
            <pc:docMk/>
            <pc:sldMk cId="1036043289" sldId="546"/>
            <ac:spMk id="3" creationId="{BACE41BD-1CAE-1299-918F-5B1678DE12B4}"/>
          </ac:spMkLst>
        </pc:spChg>
        <pc:spChg chg="add">
          <ac:chgData name="Eileen Fleming Suse" userId="S::efs3844@ads.northwestern.edu::725c94ef-d051-42d7-9d33-8572765d592b" providerId="AD" clId="Web-{61DCECB8-FCC4-463F-180A-DE94BEA715D4}" dt="2023-10-30T22:46:29.367" v="353"/>
          <ac:spMkLst>
            <pc:docMk/>
            <pc:sldMk cId="1036043289" sldId="546"/>
            <ac:spMk id="9" creationId="{E91DC736-0EF8-4F87-9146-EBF1D2EE4D3D}"/>
          </ac:spMkLst>
        </pc:spChg>
        <pc:spChg chg="add">
          <ac:chgData name="Eileen Fleming Suse" userId="S::efs3844@ads.northwestern.edu::725c94ef-d051-42d7-9d33-8572765d592b" providerId="AD" clId="Web-{61DCECB8-FCC4-463F-180A-DE94BEA715D4}" dt="2023-10-30T22:46:29.367" v="353"/>
          <ac:spMkLst>
            <pc:docMk/>
            <pc:sldMk cId="1036043289" sldId="546"/>
            <ac:spMk id="11" creationId="{097CD68E-23E3-4007-8847-CD0944C4F7BE}"/>
          </ac:spMkLst>
        </pc:spChg>
        <pc:spChg chg="add">
          <ac:chgData name="Eileen Fleming Suse" userId="S::efs3844@ads.northwestern.edu::725c94ef-d051-42d7-9d33-8572765d592b" providerId="AD" clId="Web-{61DCECB8-FCC4-463F-180A-DE94BEA715D4}" dt="2023-10-30T22:46:29.367" v="353"/>
          <ac:spMkLst>
            <pc:docMk/>
            <pc:sldMk cId="1036043289" sldId="546"/>
            <ac:spMk id="13" creationId="{AF2F604E-43BE-4DC3-B983-E071523364F8}"/>
          </ac:spMkLst>
        </pc:spChg>
        <pc:spChg chg="add">
          <ac:chgData name="Eileen Fleming Suse" userId="S::efs3844@ads.northwestern.edu::725c94ef-d051-42d7-9d33-8572765d592b" providerId="AD" clId="Web-{61DCECB8-FCC4-463F-180A-DE94BEA715D4}" dt="2023-10-30T22:46:29.367" v="353"/>
          <ac:spMkLst>
            <pc:docMk/>
            <pc:sldMk cId="1036043289" sldId="546"/>
            <ac:spMk id="15" creationId="{08C9B587-E65E-4B52-B37C-ABEBB6E87928}"/>
          </ac:spMkLst>
        </pc:spChg>
        <pc:picChg chg="add mod ord">
          <ac:chgData name="Eileen Fleming Suse" userId="S::efs3844@ads.northwestern.edu::725c94ef-d051-42d7-9d33-8572765d592b" providerId="AD" clId="Web-{61DCECB8-FCC4-463F-180A-DE94BEA715D4}" dt="2023-10-30T22:46:29.367" v="353"/>
          <ac:picMkLst>
            <pc:docMk/>
            <pc:sldMk cId="1036043289" sldId="546"/>
            <ac:picMk id="4" creationId="{9E0544A9-5CC0-A8B3-0447-4C7A5380BF18}"/>
          </ac:picMkLst>
        </pc:picChg>
      </pc:sldChg>
      <pc:sldChg chg="modSp">
        <pc:chgData name="Eileen Fleming Suse" userId="S::efs3844@ads.northwestern.edu::725c94ef-d051-42d7-9d33-8572765d592b" providerId="AD" clId="Web-{61DCECB8-FCC4-463F-180A-DE94BEA715D4}" dt="2023-10-30T20:06:03.401" v="185" actId="1076"/>
        <pc:sldMkLst>
          <pc:docMk/>
          <pc:sldMk cId="3472964082" sldId="550"/>
        </pc:sldMkLst>
        <pc:spChg chg="mod">
          <ac:chgData name="Eileen Fleming Suse" userId="S::efs3844@ads.northwestern.edu::725c94ef-d051-42d7-9d33-8572765d592b" providerId="AD" clId="Web-{61DCECB8-FCC4-463F-180A-DE94BEA715D4}" dt="2023-10-30T20:06:03.401" v="185" actId="1076"/>
          <ac:spMkLst>
            <pc:docMk/>
            <pc:sldMk cId="3472964082" sldId="550"/>
            <ac:spMk id="14" creationId="{00000000-0000-0000-0000-000000000000}"/>
          </ac:spMkLst>
        </pc:spChg>
      </pc:sldChg>
      <pc:sldChg chg="modSp">
        <pc:chgData name="Eileen Fleming Suse" userId="S::efs3844@ads.northwestern.edu::725c94ef-d051-42d7-9d33-8572765d592b" providerId="AD" clId="Web-{61DCECB8-FCC4-463F-180A-DE94BEA715D4}" dt="2023-10-30T20:05:10.400" v="170" actId="1076"/>
        <pc:sldMkLst>
          <pc:docMk/>
          <pc:sldMk cId="2562283095" sldId="551"/>
        </pc:sldMkLst>
        <pc:spChg chg="mod">
          <ac:chgData name="Eileen Fleming Suse" userId="S::efs3844@ads.northwestern.edu::725c94ef-d051-42d7-9d33-8572765d592b" providerId="AD" clId="Web-{61DCECB8-FCC4-463F-180A-DE94BEA715D4}" dt="2023-10-30T20:05:10.400" v="170" actId="1076"/>
          <ac:spMkLst>
            <pc:docMk/>
            <pc:sldMk cId="2562283095" sldId="551"/>
            <ac:spMk id="14" creationId="{00000000-0000-0000-0000-000000000000}"/>
          </ac:spMkLst>
        </pc:spChg>
        <pc:spChg chg="mod">
          <ac:chgData name="Eileen Fleming Suse" userId="S::efs3844@ads.northwestern.edu::725c94ef-d051-42d7-9d33-8572765d592b" providerId="AD" clId="Web-{61DCECB8-FCC4-463F-180A-DE94BEA715D4}" dt="2023-10-30T20:02:45.475" v="115"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61DCECB8-FCC4-463F-180A-DE94BEA715D4}" dt="2023-10-30T20:12:03.738" v="229"/>
        <pc:sldMkLst>
          <pc:docMk/>
          <pc:sldMk cId="3067427377" sldId="560"/>
        </pc:sldMkLst>
        <pc:spChg chg="mod">
          <ac:chgData name="Eileen Fleming Suse" userId="S::efs3844@ads.northwestern.edu::725c94ef-d051-42d7-9d33-8572765d592b" providerId="AD" clId="Web-{61DCECB8-FCC4-463F-180A-DE94BEA715D4}" dt="2023-10-30T20:12:03.738" v="229"/>
          <ac:spMkLst>
            <pc:docMk/>
            <pc:sldMk cId="3067427377" sldId="560"/>
            <ac:spMk id="2" creationId="{85302686-DF06-3304-66CB-1E21F4D086DC}"/>
          </ac:spMkLst>
        </pc:spChg>
        <pc:spChg chg="mod">
          <ac:chgData name="Eileen Fleming Suse" userId="S::efs3844@ads.northwestern.edu::725c94ef-d051-42d7-9d33-8572765d592b" providerId="AD" clId="Web-{61DCECB8-FCC4-463F-180A-DE94BEA715D4}" dt="2023-10-30T20:09:47.266" v="199" actId="20577"/>
          <ac:spMkLst>
            <pc:docMk/>
            <pc:sldMk cId="3067427377" sldId="560"/>
            <ac:spMk id="3" creationId="{E7ECD19B-85BC-6652-2856-676802964CFA}"/>
          </ac:spMkLst>
        </pc:spChg>
      </pc:sldChg>
      <pc:sldChg chg="modSp">
        <pc:chgData name="Eileen Fleming Suse" userId="S::efs3844@ads.northwestern.edu::725c94ef-d051-42d7-9d33-8572765d592b" providerId="AD" clId="Web-{61DCECB8-FCC4-463F-180A-DE94BEA715D4}" dt="2023-10-30T20:15:17.508" v="249" actId="1076"/>
        <pc:sldMkLst>
          <pc:docMk/>
          <pc:sldMk cId="1141815353" sldId="562"/>
        </pc:sldMkLst>
        <pc:spChg chg="mod">
          <ac:chgData name="Eileen Fleming Suse" userId="S::efs3844@ads.northwestern.edu::725c94ef-d051-42d7-9d33-8572765d592b" providerId="AD" clId="Web-{61DCECB8-FCC4-463F-180A-DE94BEA715D4}" dt="2023-10-30T20:15:17.508" v="249" actId="1076"/>
          <ac:spMkLst>
            <pc:docMk/>
            <pc:sldMk cId="1141815353" sldId="562"/>
            <ac:spMk id="13" creationId="{2FC08365-C48A-7DB8-BBA6-D9EB552FFD55}"/>
          </ac:spMkLst>
        </pc:spChg>
      </pc:sldChg>
      <pc:sldChg chg="modSp">
        <pc:chgData name="Eileen Fleming Suse" userId="S::efs3844@ads.northwestern.edu::725c94ef-d051-42d7-9d33-8572765d592b" providerId="AD" clId="Web-{61DCECB8-FCC4-463F-180A-DE94BEA715D4}" dt="2023-10-30T19:48:03.501" v="41" actId="1076"/>
        <pc:sldMkLst>
          <pc:docMk/>
          <pc:sldMk cId="3845418986" sldId="563"/>
        </pc:sldMkLst>
        <pc:spChg chg="mod">
          <ac:chgData name="Eileen Fleming Suse" userId="S::efs3844@ads.northwestern.edu::725c94ef-d051-42d7-9d33-8572765d592b" providerId="AD" clId="Web-{61DCECB8-FCC4-463F-180A-DE94BEA715D4}" dt="2023-10-30T19:48:03.501" v="41" actId="1076"/>
          <ac:spMkLst>
            <pc:docMk/>
            <pc:sldMk cId="3845418986" sldId="563"/>
            <ac:spMk id="49" creationId="{4FD6BDF7-E6F5-6DC8-9332-E3E0DB7057F0}"/>
          </ac:spMkLst>
        </pc:spChg>
        <pc:spChg chg="mod">
          <ac:chgData name="Eileen Fleming Suse" userId="S::efs3844@ads.northwestern.edu::725c94ef-d051-42d7-9d33-8572765d592b" providerId="AD" clId="Web-{61DCECB8-FCC4-463F-180A-DE94BEA715D4}" dt="2023-10-30T19:47:58.329" v="39" actId="1076"/>
          <ac:spMkLst>
            <pc:docMk/>
            <pc:sldMk cId="3845418986" sldId="563"/>
            <ac:spMk id="51" creationId="{233EFC40-2641-E728-F412-79899FC6D0D7}"/>
          </ac:spMkLst>
        </pc:spChg>
        <pc:spChg chg="mod">
          <ac:chgData name="Eileen Fleming Suse" userId="S::efs3844@ads.northwestern.edu::725c94ef-d051-42d7-9d33-8572765d592b" providerId="AD" clId="Web-{61DCECB8-FCC4-463F-180A-DE94BEA715D4}" dt="2023-10-30T19:47:53.204" v="38" actId="1076"/>
          <ac:spMkLst>
            <pc:docMk/>
            <pc:sldMk cId="3845418986" sldId="563"/>
            <ac:spMk id="53" creationId="{66360ABF-1F2C-C63A-9187-17E2573B3DEB}"/>
          </ac:spMkLst>
        </pc:spChg>
      </pc:sldChg>
      <pc:sldChg chg="modSp">
        <pc:chgData name="Eileen Fleming Suse" userId="S::efs3844@ads.northwestern.edu::725c94ef-d051-42d7-9d33-8572765d592b" providerId="AD" clId="Web-{61DCECB8-FCC4-463F-180A-DE94BEA715D4}" dt="2023-10-30T19:47:07.218" v="36" actId="1076"/>
        <pc:sldMkLst>
          <pc:docMk/>
          <pc:sldMk cId="1536434647" sldId="564"/>
        </pc:sldMkLst>
        <pc:spChg chg="mod">
          <ac:chgData name="Eileen Fleming Suse" userId="S::efs3844@ads.northwestern.edu::725c94ef-d051-42d7-9d33-8572765d592b" providerId="AD" clId="Web-{61DCECB8-FCC4-463F-180A-DE94BEA715D4}" dt="2023-10-30T19:47:07.218" v="36" actId="1076"/>
          <ac:spMkLst>
            <pc:docMk/>
            <pc:sldMk cId="1536434647" sldId="564"/>
            <ac:spMk id="51" creationId="{DADB789B-D1D8-A439-C1FC-0121F131E706}"/>
          </ac:spMkLst>
        </pc:spChg>
        <pc:spChg chg="mod">
          <ac:chgData name="Eileen Fleming Suse" userId="S::efs3844@ads.northwestern.edu::725c94ef-d051-42d7-9d33-8572765d592b" providerId="AD" clId="Web-{61DCECB8-FCC4-463F-180A-DE94BEA715D4}" dt="2023-10-30T19:47:03.874" v="34" actId="1076"/>
          <ac:spMkLst>
            <pc:docMk/>
            <pc:sldMk cId="1536434647" sldId="564"/>
            <ac:spMk id="53" creationId="{7AA1F7FA-AA52-FED3-1784-BE66C8A7FBFC}"/>
          </ac:spMkLst>
        </pc:spChg>
        <pc:spChg chg="mod">
          <ac:chgData name="Eileen Fleming Suse" userId="S::efs3844@ads.northwestern.edu::725c94ef-d051-42d7-9d33-8572765d592b" providerId="AD" clId="Web-{61DCECB8-FCC4-463F-180A-DE94BEA715D4}" dt="2023-10-30T19:47:01.156" v="33" actId="1076"/>
          <ac:spMkLst>
            <pc:docMk/>
            <pc:sldMk cId="1536434647" sldId="564"/>
            <ac:spMk id="55" creationId="{20BABE46-A93F-751A-4C5F-3AC294D73230}"/>
          </ac:spMkLst>
        </pc:spChg>
      </pc:sldChg>
      <pc:sldChg chg="modSp">
        <pc:chgData name="Eileen Fleming Suse" userId="S::efs3844@ads.northwestern.edu::725c94ef-d051-42d7-9d33-8572765d592b" providerId="AD" clId="Web-{61DCECB8-FCC4-463F-180A-DE94BEA715D4}" dt="2023-10-30T22:49:24.356" v="387" actId="20577"/>
        <pc:sldMkLst>
          <pc:docMk/>
          <pc:sldMk cId="3870927286" sldId="583"/>
        </pc:sldMkLst>
        <pc:spChg chg="mod">
          <ac:chgData name="Eileen Fleming Suse" userId="S::efs3844@ads.northwestern.edu::725c94ef-d051-42d7-9d33-8572765d592b" providerId="AD" clId="Web-{61DCECB8-FCC4-463F-180A-DE94BEA715D4}" dt="2023-10-30T22:47:53.713" v="367" actId="1076"/>
          <ac:spMkLst>
            <pc:docMk/>
            <pc:sldMk cId="3870927286" sldId="583"/>
            <ac:spMk id="2" creationId="{00000000-0000-0000-0000-000000000000}"/>
          </ac:spMkLst>
        </pc:spChg>
        <pc:spChg chg="mod">
          <ac:chgData name="Eileen Fleming Suse" userId="S::efs3844@ads.northwestern.edu::725c94ef-d051-42d7-9d33-8572765d592b" providerId="AD" clId="Web-{61DCECB8-FCC4-463F-180A-DE94BEA715D4}" dt="2023-10-30T22:49:24.356" v="387" actId="20577"/>
          <ac:spMkLst>
            <pc:docMk/>
            <pc:sldMk cId="3870927286" sldId="583"/>
            <ac:spMk id="13" creationId="{00000000-0000-0000-0000-000000000000}"/>
          </ac:spMkLst>
        </pc:spChg>
        <pc:spChg chg="mod">
          <ac:chgData name="Eileen Fleming Suse" userId="S::efs3844@ads.northwestern.edu::725c94ef-d051-42d7-9d33-8572765d592b" providerId="AD" clId="Web-{61DCECB8-FCC4-463F-180A-DE94BEA715D4}" dt="2023-10-30T22:48:44.855" v="383" actId="1076"/>
          <ac:spMkLst>
            <pc:docMk/>
            <pc:sldMk cId="3870927286" sldId="583"/>
            <ac:spMk id="14" creationId="{00000000-0000-0000-0000-000000000000}"/>
          </ac:spMkLst>
        </pc:spChg>
        <pc:spChg chg="mod">
          <ac:chgData name="Eileen Fleming Suse" userId="S::efs3844@ads.northwestern.edu::725c94ef-d051-42d7-9d33-8572765d592b" providerId="AD" clId="Web-{61DCECB8-FCC4-463F-180A-DE94BEA715D4}" dt="2023-10-30T22:47:53.869" v="373" actId="1076"/>
          <ac:spMkLst>
            <pc:docMk/>
            <pc:sldMk cId="3870927286" sldId="583"/>
            <ac:spMk id="39" creationId="{00000000-0000-0000-0000-000000000000}"/>
          </ac:spMkLst>
        </pc:spChg>
        <pc:spChg chg="mod">
          <ac:chgData name="Eileen Fleming Suse" userId="S::efs3844@ads.northwestern.edu::725c94ef-d051-42d7-9d33-8572765d592b" providerId="AD" clId="Web-{61DCECB8-FCC4-463F-180A-DE94BEA715D4}" dt="2023-10-30T22:47:53.885" v="374" actId="1076"/>
          <ac:spMkLst>
            <pc:docMk/>
            <pc:sldMk cId="3870927286" sldId="583"/>
            <ac:spMk id="40" creationId="{00000000-0000-0000-0000-000000000000}"/>
          </ac:spMkLst>
        </pc:spChg>
        <pc:spChg chg="mod">
          <ac:chgData name="Eileen Fleming Suse" userId="S::efs3844@ads.northwestern.edu::725c94ef-d051-42d7-9d33-8572765d592b" providerId="AD" clId="Web-{61DCECB8-FCC4-463F-180A-DE94BEA715D4}" dt="2023-10-30T22:47:53.900" v="375" actId="1076"/>
          <ac:spMkLst>
            <pc:docMk/>
            <pc:sldMk cId="3870927286" sldId="583"/>
            <ac:spMk id="41" creationId="{00000000-0000-0000-0000-000000000000}"/>
          </ac:spMkLst>
        </pc:spChg>
        <pc:spChg chg="mod">
          <ac:chgData name="Eileen Fleming Suse" userId="S::efs3844@ads.northwestern.edu::725c94ef-d051-42d7-9d33-8572765d592b" providerId="AD" clId="Web-{61DCECB8-FCC4-463F-180A-DE94BEA715D4}" dt="2023-10-30T22:47:53.744" v="368" actId="1076"/>
          <ac:spMkLst>
            <pc:docMk/>
            <pc:sldMk cId="3870927286" sldId="583"/>
            <ac:spMk id="51" creationId="{00000000-0000-0000-0000-000000000000}"/>
          </ac:spMkLst>
        </pc:spChg>
        <pc:grpChg chg="mod">
          <ac:chgData name="Eileen Fleming Suse" userId="S::efs3844@ads.northwestern.edu::725c94ef-d051-42d7-9d33-8572765d592b" providerId="AD" clId="Web-{61DCECB8-FCC4-463F-180A-DE94BEA715D4}" dt="2023-10-30T22:48:23.542" v="380" actId="14100"/>
          <ac:grpSpMkLst>
            <pc:docMk/>
            <pc:sldMk cId="3870927286" sldId="583"/>
            <ac:grpSpMk id="3" creationId="{00000000-0000-0000-0000-000000000000}"/>
          </ac:grpSpMkLst>
        </pc:grpChg>
        <pc:grpChg chg="mod">
          <ac:chgData name="Eileen Fleming Suse" userId="S::efs3844@ads.northwestern.edu::725c94ef-d051-42d7-9d33-8572765d592b" providerId="AD" clId="Web-{61DCECB8-FCC4-463F-180A-DE94BEA715D4}" dt="2023-10-30T22:48:35.464" v="381" actId="1076"/>
          <ac:grpSpMkLst>
            <pc:docMk/>
            <pc:sldMk cId="3870927286" sldId="583"/>
            <ac:grpSpMk id="6" creationId="{00000000-0000-0000-0000-000000000000}"/>
          </ac:grpSpMkLst>
        </pc:grpChg>
        <pc:grpChg chg="mod">
          <ac:chgData name="Eileen Fleming Suse" userId="S::efs3844@ads.northwestern.edu::725c94ef-d051-42d7-9d33-8572765d592b" providerId="AD" clId="Web-{61DCECB8-FCC4-463F-180A-DE94BEA715D4}" dt="2023-10-30T22:48:36.042" v="382" actId="1076"/>
          <ac:grpSpMkLst>
            <pc:docMk/>
            <pc:sldMk cId="3870927286" sldId="583"/>
            <ac:grpSpMk id="9" creationId="{00000000-0000-0000-0000-000000000000}"/>
          </ac:grpSpMkLst>
        </pc:grpChg>
        <pc:grpChg chg="mod">
          <ac:chgData name="Eileen Fleming Suse" userId="S::efs3844@ads.northwestern.edu::725c94ef-d051-42d7-9d33-8572765d592b" providerId="AD" clId="Web-{61DCECB8-FCC4-463F-180A-DE94BEA715D4}" dt="2023-10-30T22:48:54.965" v="384" actId="14100"/>
          <ac:grpSpMkLst>
            <pc:docMk/>
            <pc:sldMk cId="3870927286" sldId="583"/>
            <ac:grpSpMk id="15" creationId="{00000000-0000-0000-0000-000000000000}"/>
          </ac:grpSpMkLst>
        </pc:grpChg>
        <pc:grpChg chg="mod">
          <ac:chgData name="Eileen Fleming Suse" userId="S::efs3844@ads.northwestern.edu::725c94ef-d051-42d7-9d33-8572765d592b" providerId="AD" clId="Web-{61DCECB8-FCC4-463F-180A-DE94BEA715D4}" dt="2023-10-30T22:49:04.090" v="385" actId="14100"/>
          <ac:grpSpMkLst>
            <pc:docMk/>
            <pc:sldMk cId="3870927286" sldId="583"/>
            <ac:grpSpMk id="21" creationId="{00000000-0000-0000-0000-000000000000}"/>
          </ac:grpSpMkLst>
        </pc:grpChg>
        <pc:grpChg chg="mod">
          <ac:chgData name="Eileen Fleming Suse" userId="S::efs3844@ads.northwestern.edu::725c94ef-d051-42d7-9d33-8572765d592b" providerId="AD" clId="Web-{61DCECB8-FCC4-463F-180A-DE94BEA715D4}" dt="2023-10-30T22:48:03.635" v="377" actId="14100"/>
          <ac:grpSpMkLst>
            <pc:docMk/>
            <pc:sldMk cId="3870927286" sldId="583"/>
            <ac:grpSpMk id="30" creationId="{00000000-0000-0000-0000-000000000000}"/>
          </ac:grpSpMkLst>
        </pc:grpChg>
        <pc:grpChg chg="mod">
          <ac:chgData name="Eileen Fleming Suse" userId="S::efs3844@ads.northwestern.edu::725c94ef-d051-42d7-9d33-8572765d592b" providerId="AD" clId="Web-{61DCECB8-FCC4-463F-180A-DE94BEA715D4}" dt="2023-10-30T22:48:13.416" v="378" actId="1076"/>
          <ac:grpSpMkLst>
            <pc:docMk/>
            <pc:sldMk cId="3870927286" sldId="583"/>
            <ac:grpSpMk id="33" creationId="{00000000-0000-0000-0000-000000000000}"/>
          </ac:grpSpMkLst>
        </pc:grpChg>
        <pc:grpChg chg="mod">
          <ac:chgData name="Eileen Fleming Suse" userId="S::efs3844@ads.northwestern.edu::725c94ef-d051-42d7-9d33-8572765d592b" providerId="AD" clId="Web-{61DCECB8-FCC4-463F-180A-DE94BEA715D4}" dt="2023-10-30T22:47:53.869" v="372" actId="1076"/>
          <ac:grpSpMkLst>
            <pc:docMk/>
            <pc:sldMk cId="3870927286" sldId="583"/>
            <ac:grpSpMk id="36" creationId="{00000000-0000-0000-0000-000000000000}"/>
          </ac:grpSpMkLst>
        </pc:grpChg>
        <pc:picChg chg="mod">
          <ac:chgData name="Eileen Fleming Suse" userId="S::efs3844@ads.northwestern.edu::725c94ef-d051-42d7-9d33-8572765d592b" providerId="AD" clId="Web-{61DCECB8-FCC4-463F-180A-DE94BEA715D4}" dt="2023-10-30T22:47:53.791" v="369" actId="1076"/>
          <ac:picMkLst>
            <pc:docMk/>
            <pc:sldMk cId="3870927286" sldId="583"/>
            <ac:picMk id="18" creationId="{1199796C-BA73-A007-E570-EBC0C69CD679}"/>
          </ac:picMkLst>
        </pc:picChg>
      </pc:sldChg>
      <pc:sldChg chg="modSp">
        <pc:chgData name="Eileen Fleming Suse" userId="S::efs3844@ads.northwestern.edu::725c94ef-d051-42d7-9d33-8572765d592b" providerId="AD" clId="Web-{61DCECB8-FCC4-463F-180A-DE94BEA715D4}" dt="2023-10-30T20:02:49.334" v="116" actId="20577"/>
        <pc:sldMkLst>
          <pc:docMk/>
          <pc:sldMk cId="3561966490" sldId="585"/>
        </pc:sldMkLst>
        <pc:spChg chg="mod">
          <ac:chgData name="Eileen Fleming Suse" userId="S::efs3844@ads.northwestern.edu::725c94ef-d051-42d7-9d33-8572765d592b" providerId="AD" clId="Web-{61DCECB8-FCC4-463F-180A-DE94BEA715D4}" dt="2023-10-30T20:02:49.334" v="116" actId="20577"/>
          <ac:spMkLst>
            <pc:docMk/>
            <pc:sldMk cId="3561966490" sldId="585"/>
            <ac:spMk id="7" creationId="{00000000-0000-0000-0000-000000000000}"/>
          </ac:spMkLst>
        </pc:spChg>
      </pc:sldChg>
      <pc:sldChg chg="modSp">
        <pc:chgData name="Eileen Fleming Suse" userId="S::efs3844@ads.northwestern.edu::725c94ef-d051-42d7-9d33-8572765d592b" providerId="AD" clId="Web-{61DCECB8-FCC4-463F-180A-DE94BEA715D4}" dt="2023-10-30T19:53:05.930" v="77" actId="14100"/>
        <pc:sldMkLst>
          <pc:docMk/>
          <pc:sldMk cId="3809547791" sldId="586"/>
        </pc:sldMkLst>
        <pc:spChg chg="mod">
          <ac:chgData name="Eileen Fleming Suse" userId="S::efs3844@ads.northwestern.edu::725c94ef-d051-42d7-9d33-8572765d592b" providerId="AD" clId="Web-{61DCECB8-FCC4-463F-180A-DE94BEA715D4}" dt="2023-10-30T19:53:05.930" v="77" actId="14100"/>
          <ac:spMkLst>
            <pc:docMk/>
            <pc:sldMk cId="3809547791" sldId="586"/>
            <ac:spMk id="45" creationId="{C77E478B-4FF6-99F3-8EF6-9EC4CBF20CDC}"/>
          </ac:spMkLst>
        </pc:spChg>
        <pc:spChg chg="mod">
          <ac:chgData name="Eileen Fleming Suse" userId="S::efs3844@ads.northwestern.edu::725c94ef-d051-42d7-9d33-8572765d592b" providerId="AD" clId="Web-{61DCECB8-FCC4-463F-180A-DE94BEA715D4}" dt="2023-10-30T19:52:21.335" v="74" actId="1076"/>
          <ac:spMkLst>
            <pc:docMk/>
            <pc:sldMk cId="3809547791" sldId="586"/>
            <ac:spMk id="47" creationId="{B8E0B5F5-B6A2-711D-2F6F-422E5E01B221}"/>
          </ac:spMkLst>
        </pc:spChg>
      </pc:sldChg>
      <pc:sldChg chg="modSp">
        <pc:chgData name="Eileen Fleming Suse" userId="S::efs3844@ads.northwestern.edu::725c94ef-d051-42d7-9d33-8572765d592b" providerId="AD" clId="Web-{61DCECB8-FCC4-463F-180A-DE94BEA715D4}" dt="2023-10-30T19:52:12.554" v="72" actId="1076"/>
        <pc:sldMkLst>
          <pc:docMk/>
          <pc:sldMk cId="1598854783" sldId="587"/>
        </pc:sldMkLst>
        <pc:spChg chg="mod">
          <ac:chgData name="Eileen Fleming Suse" userId="S::efs3844@ads.northwestern.edu::725c94ef-d051-42d7-9d33-8572765d592b" providerId="AD" clId="Web-{61DCECB8-FCC4-463F-180A-DE94BEA715D4}" dt="2023-10-30T19:52:12.554" v="72" actId="1076"/>
          <ac:spMkLst>
            <pc:docMk/>
            <pc:sldMk cId="1598854783" sldId="587"/>
            <ac:spMk id="49" creationId="{E2210AC7-88E9-3DF2-B6FD-284390179A81}"/>
          </ac:spMkLst>
        </pc:spChg>
        <pc:spChg chg="mod">
          <ac:chgData name="Eileen Fleming Suse" userId="S::efs3844@ads.northwestern.edu::725c94ef-d051-42d7-9d33-8572765d592b" providerId="AD" clId="Web-{61DCECB8-FCC4-463F-180A-DE94BEA715D4}" dt="2023-10-30T19:50:46.880" v="70" actId="1076"/>
          <ac:spMkLst>
            <pc:docMk/>
            <pc:sldMk cId="1598854783" sldId="587"/>
            <ac:spMk id="51" creationId="{24A2DEC9-4CC0-CBF0-5D9A-524D9EFAEE1C}"/>
          </ac:spMkLst>
        </pc:spChg>
        <pc:spChg chg="mod">
          <ac:chgData name="Eileen Fleming Suse" userId="S::efs3844@ads.northwestern.edu::725c94ef-d051-42d7-9d33-8572765d592b" providerId="AD" clId="Web-{61DCECB8-FCC4-463F-180A-DE94BEA715D4}" dt="2023-10-30T19:50:45.505" v="69" actId="1076"/>
          <ac:spMkLst>
            <pc:docMk/>
            <pc:sldMk cId="1598854783" sldId="587"/>
            <ac:spMk id="53" creationId="{0E0706BB-4123-83DA-E93A-66A50F4484A3}"/>
          </ac:spMkLst>
        </pc:spChg>
      </pc:sldChg>
      <pc:sldChg chg="modSp">
        <pc:chgData name="Eileen Fleming Suse" userId="S::efs3844@ads.northwestern.edu::725c94ef-d051-42d7-9d33-8572765d592b" providerId="AD" clId="Web-{61DCECB8-FCC4-463F-180A-DE94BEA715D4}" dt="2023-10-30T19:56:42.544" v="104" actId="1076"/>
        <pc:sldMkLst>
          <pc:docMk/>
          <pc:sldMk cId="3832963388" sldId="588"/>
        </pc:sldMkLst>
        <pc:spChg chg="mod">
          <ac:chgData name="Eileen Fleming Suse" userId="S::efs3844@ads.northwestern.edu::725c94ef-d051-42d7-9d33-8572765d592b" providerId="AD" clId="Web-{61DCECB8-FCC4-463F-180A-DE94BEA715D4}" dt="2023-10-30T19:56:42.544" v="104" actId="1076"/>
          <ac:spMkLst>
            <pc:docMk/>
            <pc:sldMk cId="3832963388" sldId="588"/>
            <ac:spMk id="27" creationId="{00000000-0000-0000-0000-000000000000}"/>
          </ac:spMkLst>
        </pc:spChg>
        <pc:spChg chg="mod">
          <ac:chgData name="Eileen Fleming Suse" userId="S::efs3844@ads.northwestern.edu::725c94ef-d051-42d7-9d33-8572765d592b" providerId="AD" clId="Web-{61DCECB8-FCC4-463F-180A-DE94BEA715D4}" dt="2023-10-30T19:56:12.966" v="102" actId="1076"/>
          <ac:spMkLst>
            <pc:docMk/>
            <pc:sldMk cId="3832963388" sldId="588"/>
            <ac:spMk id="32" creationId="{00000000-0000-0000-0000-000000000000}"/>
          </ac:spMkLst>
        </pc:spChg>
        <pc:spChg chg="mod">
          <ac:chgData name="Eileen Fleming Suse" userId="S::efs3844@ads.northwestern.edu::725c94ef-d051-42d7-9d33-8572765d592b" providerId="AD" clId="Web-{61DCECB8-FCC4-463F-180A-DE94BEA715D4}" dt="2023-10-30T19:50:22.270" v="62" actId="14100"/>
          <ac:spMkLst>
            <pc:docMk/>
            <pc:sldMk cId="3832963388" sldId="588"/>
            <ac:spMk id="36" creationId="{3EFC5C80-E693-6C51-4DEF-583812BEAB54}"/>
          </ac:spMkLst>
        </pc:spChg>
        <pc:spChg chg="mod">
          <ac:chgData name="Eileen Fleming Suse" userId="S::efs3844@ads.northwestern.edu::725c94ef-d051-42d7-9d33-8572765d592b" providerId="AD" clId="Web-{61DCECB8-FCC4-463F-180A-DE94BEA715D4}" dt="2023-10-30T19:50:16.801" v="59" actId="1076"/>
          <ac:spMkLst>
            <pc:docMk/>
            <pc:sldMk cId="3832963388" sldId="588"/>
            <ac:spMk id="38" creationId="{9B32A794-89CE-3CF7-CCFB-FB03BB567C6D}"/>
          </ac:spMkLst>
        </pc:spChg>
      </pc:sldChg>
      <pc:sldChg chg="modSp">
        <pc:chgData name="Eileen Fleming Suse" userId="S::efs3844@ads.northwestern.edu::725c94ef-d051-42d7-9d33-8572765d592b" providerId="AD" clId="Web-{61DCECB8-FCC4-463F-180A-DE94BEA715D4}" dt="2023-10-30T19:56:26.903" v="103" actId="20577"/>
        <pc:sldMkLst>
          <pc:docMk/>
          <pc:sldMk cId="435998680" sldId="589"/>
        </pc:sldMkLst>
        <pc:spChg chg="mod">
          <ac:chgData name="Eileen Fleming Suse" userId="S::efs3844@ads.northwestern.edu::725c94ef-d051-42d7-9d33-8572765d592b" providerId="AD" clId="Web-{61DCECB8-FCC4-463F-180A-DE94BEA715D4}" dt="2023-10-30T19:54:21.947" v="86" actId="1076"/>
          <ac:spMkLst>
            <pc:docMk/>
            <pc:sldMk cId="435998680" sldId="589"/>
            <ac:spMk id="3" creationId="{00000000-0000-0000-0000-000000000000}"/>
          </ac:spMkLst>
        </pc:spChg>
        <pc:spChg chg="mod">
          <ac:chgData name="Eileen Fleming Suse" userId="S::efs3844@ads.northwestern.edu::725c94ef-d051-42d7-9d33-8572765d592b" providerId="AD" clId="Web-{61DCECB8-FCC4-463F-180A-DE94BEA715D4}" dt="2023-10-30T19:55:39.215" v="99" actId="1076"/>
          <ac:spMkLst>
            <pc:docMk/>
            <pc:sldMk cId="435998680" sldId="589"/>
            <ac:spMk id="8" creationId="{00000000-0000-0000-0000-000000000000}"/>
          </ac:spMkLst>
        </pc:spChg>
        <pc:spChg chg="mod">
          <ac:chgData name="Eileen Fleming Suse" userId="S::efs3844@ads.northwestern.edu::725c94ef-d051-42d7-9d33-8572765d592b" providerId="AD" clId="Web-{61DCECB8-FCC4-463F-180A-DE94BEA715D4}" dt="2023-10-30T19:54:19.322" v="85" actId="14100"/>
          <ac:spMkLst>
            <pc:docMk/>
            <pc:sldMk cId="435998680" sldId="589"/>
            <ac:spMk id="10" creationId="{00000000-0000-0000-0000-000000000000}"/>
          </ac:spMkLst>
        </pc:spChg>
        <pc:spChg chg="mod">
          <ac:chgData name="Eileen Fleming Suse" userId="S::efs3844@ads.northwestern.edu::725c94ef-d051-42d7-9d33-8572765d592b" providerId="AD" clId="Web-{61DCECB8-FCC4-463F-180A-DE94BEA715D4}" dt="2023-10-30T19:54:08.025" v="83" actId="1076"/>
          <ac:spMkLst>
            <pc:docMk/>
            <pc:sldMk cId="435998680" sldId="589"/>
            <ac:spMk id="13" creationId="{00000000-0000-0000-0000-000000000000}"/>
          </ac:spMkLst>
        </pc:spChg>
        <pc:spChg chg="mod">
          <ac:chgData name="Eileen Fleming Suse" userId="S::efs3844@ads.northwestern.edu::725c94ef-d051-42d7-9d33-8572765d592b" providerId="AD" clId="Web-{61DCECB8-FCC4-463F-180A-DE94BEA715D4}" dt="2023-10-30T19:56:26.903" v="103" actId="20577"/>
          <ac:spMkLst>
            <pc:docMk/>
            <pc:sldMk cId="435998680" sldId="589"/>
            <ac:spMk id="16" creationId="{00000000-0000-0000-0000-000000000000}"/>
          </ac:spMkLst>
        </pc:spChg>
        <pc:spChg chg="mod">
          <ac:chgData name="Eileen Fleming Suse" userId="S::efs3844@ads.northwestern.edu::725c94ef-d051-42d7-9d33-8572765d592b" providerId="AD" clId="Web-{61DCECB8-FCC4-463F-180A-DE94BEA715D4}" dt="2023-10-30T19:54:46.620" v="90" actId="20577"/>
          <ac:spMkLst>
            <pc:docMk/>
            <pc:sldMk cId="435998680" sldId="589"/>
            <ac:spMk id="17" creationId="{00000000-0000-0000-0000-000000000000}"/>
          </ac:spMkLst>
        </pc:spChg>
        <pc:spChg chg="mod">
          <ac:chgData name="Eileen Fleming Suse" userId="S::efs3844@ads.northwestern.edu::725c94ef-d051-42d7-9d33-8572765d592b" providerId="AD" clId="Web-{61DCECB8-FCC4-463F-180A-DE94BEA715D4}" dt="2023-10-30T19:49:42.800" v="52" actId="14100"/>
          <ac:spMkLst>
            <pc:docMk/>
            <pc:sldMk cId="435998680" sldId="589"/>
            <ac:spMk id="19" creationId="{4F38B046-5CD5-F005-45E3-2034830DFD34}"/>
          </ac:spMkLst>
        </pc:spChg>
        <pc:spChg chg="mod">
          <ac:chgData name="Eileen Fleming Suse" userId="S::efs3844@ads.northwestern.edu::725c94ef-d051-42d7-9d33-8572765d592b" providerId="AD" clId="Web-{61DCECB8-FCC4-463F-180A-DE94BEA715D4}" dt="2023-10-30T19:49:51.378" v="55" actId="1076"/>
          <ac:spMkLst>
            <pc:docMk/>
            <pc:sldMk cId="435998680" sldId="589"/>
            <ac:spMk id="21" creationId="{A35E0C3C-CC22-A1A0-8E94-9EEE65798BD1}"/>
          </ac:spMkLst>
        </pc:spChg>
        <pc:spChg chg="mod">
          <ac:chgData name="Eileen Fleming Suse" userId="S::efs3844@ads.northwestern.edu::725c94ef-d051-42d7-9d33-8572765d592b" providerId="AD" clId="Web-{61DCECB8-FCC4-463F-180A-DE94BEA715D4}" dt="2023-10-30T19:48:51.643" v="51" actId="1076"/>
          <ac:spMkLst>
            <pc:docMk/>
            <pc:sldMk cId="435998680" sldId="589"/>
            <ac:spMk id="23" creationId="{4187CCE4-601B-24DB-941F-235B18EDE475}"/>
          </ac:spMkLst>
        </pc:spChg>
        <pc:grpChg chg="mod">
          <ac:chgData name="Eileen Fleming Suse" userId="S::efs3844@ads.northwestern.edu::725c94ef-d051-42d7-9d33-8572765d592b" providerId="AD" clId="Web-{61DCECB8-FCC4-463F-180A-DE94BEA715D4}" dt="2023-10-30T19:54:05.572" v="82" actId="1076"/>
          <ac:grpSpMkLst>
            <pc:docMk/>
            <pc:sldMk cId="435998680" sldId="589"/>
            <ac:grpSpMk id="5" creationId="{00000000-0000-0000-0000-000000000000}"/>
          </ac:grpSpMkLst>
        </pc:grpChg>
      </pc:sldChg>
      <pc:sldChg chg="modSp">
        <pc:chgData name="Eileen Fleming Suse" userId="S::efs3844@ads.northwestern.edu::725c94ef-d051-42d7-9d33-8572765d592b" providerId="AD" clId="Web-{61DCECB8-FCC4-463F-180A-DE94BEA715D4}" dt="2023-10-30T19:53:40.587" v="81" actId="1076"/>
        <pc:sldMkLst>
          <pc:docMk/>
          <pc:sldMk cId="595546358" sldId="590"/>
        </pc:sldMkLst>
        <pc:spChg chg="mod">
          <ac:chgData name="Eileen Fleming Suse" userId="S::efs3844@ads.northwestern.edu::725c94ef-d051-42d7-9d33-8572765d592b" providerId="AD" clId="Web-{61DCECB8-FCC4-463F-180A-DE94BEA715D4}" dt="2023-10-30T19:53:37.665" v="80" actId="1076"/>
          <ac:spMkLst>
            <pc:docMk/>
            <pc:sldMk cId="595546358" sldId="590"/>
            <ac:spMk id="26" creationId="{00000000-0000-0000-0000-000000000000}"/>
          </ac:spMkLst>
        </pc:spChg>
        <pc:spChg chg="mod">
          <ac:chgData name="Eileen Fleming Suse" userId="S::efs3844@ads.northwestern.edu::725c94ef-d051-42d7-9d33-8572765d592b" providerId="AD" clId="Web-{61DCECB8-FCC4-463F-180A-DE94BEA715D4}" dt="2023-10-30T19:53:22.602" v="79" actId="1076"/>
          <ac:spMkLst>
            <pc:docMk/>
            <pc:sldMk cId="595546358" sldId="590"/>
            <ac:spMk id="30" creationId="{53721EF8-C35D-834E-9339-D65FFE7AFF9A}"/>
          </ac:spMkLst>
        </pc:spChg>
        <pc:spChg chg="mod">
          <ac:chgData name="Eileen Fleming Suse" userId="S::efs3844@ads.northwestern.edu::725c94ef-d051-42d7-9d33-8572765d592b" providerId="AD" clId="Web-{61DCECB8-FCC4-463F-180A-DE94BEA715D4}" dt="2023-10-30T19:53:20.774" v="78" actId="1076"/>
          <ac:spMkLst>
            <pc:docMk/>
            <pc:sldMk cId="595546358" sldId="590"/>
            <ac:spMk id="32" creationId="{F1AED984-C21E-AA63-E34E-DA61BCE8401F}"/>
          </ac:spMkLst>
        </pc:spChg>
        <pc:spChg chg="mod">
          <ac:chgData name="Eileen Fleming Suse" userId="S::efs3844@ads.northwestern.edu::725c94ef-d051-42d7-9d33-8572765d592b" providerId="AD" clId="Web-{61DCECB8-FCC4-463F-180A-DE94BEA715D4}" dt="2023-10-30T19:48:30.908" v="45" actId="1076"/>
          <ac:spMkLst>
            <pc:docMk/>
            <pc:sldMk cId="595546358" sldId="590"/>
            <ac:spMk id="34" creationId="{6A9EBE99-61D6-2DC0-EB79-B633C9D91DD8}"/>
          </ac:spMkLst>
        </pc:spChg>
        <pc:grpChg chg="mod">
          <ac:chgData name="Eileen Fleming Suse" userId="S::efs3844@ads.northwestern.edu::725c94ef-d051-42d7-9d33-8572765d592b" providerId="AD" clId="Web-{61DCECB8-FCC4-463F-180A-DE94BEA715D4}" dt="2023-10-30T19:53:40.587" v="81" actId="1076"/>
          <ac:grpSpMkLst>
            <pc:docMk/>
            <pc:sldMk cId="595546358" sldId="590"/>
            <ac:grpSpMk id="11" creationId="{00000000-0000-0000-0000-000000000000}"/>
          </ac:grpSpMkLst>
        </pc:grpChg>
      </pc:sldChg>
      <pc:sldChg chg="modSp">
        <pc:chgData name="Eileen Fleming Suse" userId="S::efs3844@ads.northwestern.edu::725c94ef-d051-42d7-9d33-8572765d592b" providerId="AD" clId="Web-{61DCECB8-FCC4-463F-180A-DE94BEA715D4}" dt="2023-10-30T19:48:08.470" v="42" actId="1076"/>
        <pc:sldMkLst>
          <pc:docMk/>
          <pc:sldMk cId="629433230" sldId="591"/>
        </pc:sldMkLst>
        <pc:spChg chg="mod">
          <ac:chgData name="Eileen Fleming Suse" userId="S::efs3844@ads.northwestern.edu::725c94ef-d051-42d7-9d33-8572765d592b" providerId="AD" clId="Web-{61DCECB8-FCC4-463F-180A-DE94BEA715D4}" dt="2023-10-30T19:46:46.702" v="31" actId="1076"/>
          <ac:spMkLst>
            <pc:docMk/>
            <pc:sldMk cId="629433230" sldId="591"/>
            <ac:spMk id="24" creationId="{82DED22A-2957-2107-97D2-7694FF88F0A5}"/>
          </ac:spMkLst>
        </pc:spChg>
        <pc:spChg chg="mod">
          <ac:chgData name="Eileen Fleming Suse" userId="S::efs3844@ads.northwestern.edu::725c94ef-d051-42d7-9d33-8572765d592b" providerId="AD" clId="Web-{61DCECB8-FCC4-463F-180A-DE94BEA715D4}" dt="2023-10-30T19:48:08.470" v="42" actId="1076"/>
          <ac:spMkLst>
            <pc:docMk/>
            <pc:sldMk cId="629433230" sldId="591"/>
            <ac:spMk id="26" creationId="{7ADA2A22-B85F-E8A9-52B3-7FA1A111EB25}"/>
          </ac:spMkLst>
        </pc:spChg>
      </pc:sldChg>
      <pc:sldChg chg="del mod modShow">
        <pc:chgData name="Eileen Fleming Suse" userId="S::efs3844@ads.northwestern.edu::725c94ef-d051-42d7-9d33-8572765d592b" providerId="AD" clId="Web-{61DCECB8-FCC4-463F-180A-DE94BEA715D4}" dt="2023-10-30T22:38:32.619" v="291"/>
        <pc:sldMkLst>
          <pc:docMk/>
          <pc:sldMk cId="2628065282" sldId="597"/>
        </pc:sldMkLst>
      </pc:sldChg>
      <pc:sldChg chg="del mod modShow">
        <pc:chgData name="Eileen Fleming Suse" userId="S::efs3844@ads.northwestern.edu::725c94ef-d051-42d7-9d33-8572765d592b" providerId="AD" clId="Web-{61DCECB8-FCC4-463F-180A-DE94BEA715D4}" dt="2023-10-30T22:38:32.619" v="292"/>
        <pc:sldMkLst>
          <pc:docMk/>
          <pc:sldMk cId="1478149357" sldId="598"/>
        </pc:sldMkLst>
      </pc:sldChg>
      <pc:sldChg chg="modSp del">
        <pc:chgData name="Eileen Fleming Suse" userId="S::efs3844@ads.northwestern.edu::725c94ef-d051-42d7-9d33-8572765d592b" providerId="AD" clId="Web-{61DCECB8-FCC4-463F-180A-DE94BEA715D4}" dt="2023-10-30T22:38:32.603" v="287"/>
        <pc:sldMkLst>
          <pc:docMk/>
          <pc:sldMk cId="2470795492" sldId="599"/>
        </pc:sldMkLst>
        <pc:spChg chg="mod">
          <ac:chgData name="Eileen Fleming Suse" userId="S::efs3844@ads.northwestern.edu::725c94ef-d051-42d7-9d33-8572765d592b" providerId="AD" clId="Web-{61DCECB8-FCC4-463F-180A-DE94BEA715D4}" dt="2023-10-30T20:16:22.525" v="250"/>
          <ac:spMkLst>
            <pc:docMk/>
            <pc:sldMk cId="2470795492" sldId="599"/>
            <ac:spMk id="16386" creationId="{00000000-0000-0000-0000-000000000000}"/>
          </ac:spMkLst>
        </pc:spChg>
      </pc:sldChg>
      <pc:sldChg chg="modSp del">
        <pc:chgData name="Eileen Fleming Suse" userId="S::efs3844@ads.northwestern.edu::725c94ef-d051-42d7-9d33-8572765d592b" providerId="AD" clId="Web-{61DCECB8-FCC4-463F-180A-DE94BEA715D4}" dt="2023-10-30T22:38:32.603" v="288"/>
        <pc:sldMkLst>
          <pc:docMk/>
          <pc:sldMk cId="2592767400" sldId="600"/>
        </pc:sldMkLst>
        <pc:spChg chg="mod">
          <ac:chgData name="Eileen Fleming Suse" userId="S::efs3844@ads.northwestern.edu::725c94ef-d051-42d7-9d33-8572765d592b" providerId="AD" clId="Web-{61DCECB8-FCC4-463F-180A-DE94BEA715D4}" dt="2023-10-30T20:16:30.104" v="251"/>
          <ac:spMkLst>
            <pc:docMk/>
            <pc:sldMk cId="2592767400" sldId="600"/>
            <ac:spMk id="16386" creationId="{00000000-0000-0000-0000-000000000000}"/>
          </ac:spMkLst>
        </pc:spChg>
      </pc:sldChg>
      <pc:sldChg chg="del">
        <pc:chgData name="Eileen Fleming Suse" userId="S::efs3844@ads.northwestern.edu::725c94ef-d051-42d7-9d33-8572765d592b" providerId="AD" clId="Web-{61DCECB8-FCC4-463F-180A-DE94BEA715D4}" dt="2023-10-30T22:38:32.603" v="289"/>
        <pc:sldMkLst>
          <pc:docMk/>
          <pc:sldMk cId="3023536423" sldId="601"/>
        </pc:sldMkLst>
      </pc:sldChg>
      <pc:sldChg chg="modSp del">
        <pc:chgData name="Eileen Fleming Suse" userId="S::efs3844@ads.northwestern.edu::725c94ef-d051-42d7-9d33-8572765d592b" providerId="AD" clId="Web-{61DCECB8-FCC4-463F-180A-DE94BEA715D4}" dt="2023-10-30T22:38:32.603" v="290"/>
        <pc:sldMkLst>
          <pc:docMk/>
          <pc:sldMk cId="1011826885" sldId="602"/>
        </pc:sldMkLst>
        <pc:spChg chg="mod">
          <ac:chgData name="Eileen Fleming Suse" userId="S::efs3844@ads.northwestern.edu::725c94ef-d051-42d7-9d33-8572765d592b" providerId="AD" clId="Web-{61DCECB8-FCC4-463F-180A-DE94BEA715D4}" dt="2023-10-30T20:16:36.619" v="252"/>
          <ac:spMkLst>
            <pc:docMk/>
            <pc:sldMk cId="1011826885" sldId="602"/>
            <ac:spMk id="16386" creationId="{00000000-0000-0000-0000-000000000000}"/>
          </ac:spMkLst>
        </pc:spChg>
      </pc:sldChg>
      <pc:sldChg chg="del">
        <pc:chgData name="Eileen Fleming Suse" userId="S::efs3844@ads.northwestern.edu::725c94ef-d051-42d7-9d33-8572765d592b" providerId="AD" clId="Web-{61DCECB8-FCC4-463F-180A-DE94BEA715D4}" dt="2023-10-30T22:38:32.587" v="284"/>
        <pc:sldMkLst>
          <pc:docMk/>
          <pc:sldMk cId="600547746" sldId="603"/>
        </pc:sldMkLst>
      </pc:sldChg>
      <pc:sldChg chg="del">
        <pc:chgData name="Eileen Fleming Suse" userId="S::efs3844@ads.northwestern.edu::725c94ef-d051-42d7-9d33-8572765d592b" providerId="AD" clId="Web-{61DCECB8-FCC4-463F-180A-DE94BEA715D4}" dt="2023-10-30T22:38:32.587" v="285"/>
        <pc:sldMkLst>
          <pc:docMk/>
          <pc:sldMk cId="3355787309" sldId="604"/>
        </pc:sldMkLst>
      </pc:sldChg>
      <pc:sldChg chg="del">
        <pc:chgData name="Eileen Fleming Suse" userId="S::efs3844@ads.northwestern.edu::725c94ef-d051-42d7-9d33-8572765d592b" providerId="AD" clId="Web-{61DCECB8-FCC4-463F-180A-DE94BEA715D4}" dt="2023-10-30T22:38:32.587" v="286"/>
        <pc:sldMkLst>
          <pc:docMk/>
          <pc:sldMk cId="1452140663" sldId="605"/>
        </pc:sldMkLst>
      </pc:sldChg>
      <pc:sldChg chg="del">
        <pc:chgData name="Eileen Fleming Suse" userId="S::efs3844@ads.northwestern.edu::725c94ef-d051-42d7-9d33-8572765d592b" providerId="AD" clId="Web-{61DCECB8-FCC4-463F-180A-DE94BEA715D4}" dt="2023-10-30T22:38:32.572" v="280"/>
        <pc:sldMkLst>
          <pc:docMk/>
          <pc:sldMk cId="1937423064" sldId="606"/>
        </pc:sldMkLst>
      </pc:sldChg>
      <pc:sldChg chg="del">
        <pc:chgData name="Eileen Fleming Suse" userId="S::efs3844@ads.northwestern.edu::725c94ef-d051-42d7-9d33-8572765d592b" providerId="AD" clId="Web-{61DCECB8-FCC4-463F-180A-DE94BEA715D4}" dt="2023-10-30T22:38:32.572" v="281"/>
        <pc:sldMkLst>
          <pc:docMk/>
          <pc:sldMk cId="3774016129" sldId="607"/>
        </pc:sldMkLst>
      </pc:sldChg>
      <pc:sldChg chg="del">
        <pc:chgData name="Eileen Fleming Suse" userId="S::efs3844@ads.northwestern.edu::725c94ef-d051-42d7-9d33-8572765d592b" providerId="AD" clId="Web-{61DCECB8-FCC4-463F-180A-DE94BEA715D4}" dt="2023-10-30T22:38:32.572" v="282"/>
        <pc:sldMkLst>
          <pc:docMk/>
          <pc:sldMk cId="3226012611" sldId="608"/>
        </pc:sldMkLst>
      </pc:sldChg>
      <pc:sldChg chg="del">
        <pc:chgData name="Eileen Fleming Suse" userId="S::efs3844@ads.northwestern.edu::725c94ef-d051-42d7-9d33-8572765d592b" providerId="AD" clId="Web-{61DCECB8-FCC4-463F-180A-DE94BEA715D4}" dt="2023-10-30T22:38:32.587" v="283"/>
        <pc:sldMkLst>
          <pc:docMk/>
          <pc:sldMk cId="2003568291" sldId="609"/>
        </pc:sldMkLst>
      </pc:sldChg>
      <pc:sldChg chg="modSp">
        <pc:chgData name="Eileen Fleming Suse" userId="S::efs3844@ads.northwestern.edu::725c94ef-d051-42d7-9d33-8572765d592b" providerId="AD" clId="Web-{61DCECB8-FCC4-463F-180A-DE94BEA715D4}" dt="2023-10-30T19:46:03.186" v="29" actId="20577"/>
        <pc:sldMkLst>
          <pc:docMk/>
          <pc:sldMk cId="3850125703" sldId="622"/>
        </pc:sldMkLst>
        <pc:spChg chg="mod">
          <ac:chgData name="Eileen Fleming Suse" userId="S::efs3844@ads.northwestern.edu::725c94ef-d051-42d7-9d33-8572765d592b" providerId="AD" clId="Web-{61DCECB8-FCC4-463F-180A-DE94BEA715D4}" dt="2023-10-30T19:45:47.826" v="6" actId="20577"/>
          <ac:spMkLst>
            <pc:docMk/>
            <pc:sldMk cId="3850125703" sldId="622"/>
            <ac:spMk id="12" creationId="{00000000-0000-0000-0000-000000000000}"/>
          </ac:spMkLst>
        </pc:spChg>
        <pc:spChg chg="mod">
          <ac:chgData name="Eileen Fleming Suse" userId="S::efs3844@ads.northwestern.edu::725c94ef-d051-42d7-9d33-8572765d592b" providerId="AD" clId="Web-{61DCECB8-FCC4-463F-180A-DE94BEA715D4}" dt="2023-10-30T19:45:56.310" v="22" actId="20577"/>
          <ac:spMkLst>
            <pc:docMk/>
            <pc:sldMk cId="3850125703" sldId="622"/>
            <ac:spMk id="27" creationId="{00000000-0000-0000-0000-000000000000}"/>
          </ac:spMkLst>
        </pc:spChg>
        <pc:spChg chg="mod">
          <ac:chgData name="Eileen Fleming Suse" userId="S::efs3844@ads.northwestern.edu::725c94ef-d051-42d7-9d33-8572765d592b" providerId="AD" clId="Web-{61DCECB8-FCC4-463F-180A-DE94BEA715D4}" dt="2023-10-30T19:45:49.076" v="8" actId="20577"/>
          <ac:spMkLst>
            <pc:docMk/>
            <pc:sldMk cId="3850125703" sldId="622"/>
            <ac:spMk id="39" creationId="{00000000-0000-0000-0000-000000000000}"/>
          </ac:spMkLst>
        </pc:spChg>
        <pc:spChg chg="mod">
          <ac:chgData name="Eileen Fleming Suse" userId="S::efs3844@ads.northwestern.edu::725c94ef-d051-42d7-9d33-8572765d592b" providerId="AD" clId="Web-{61DCECB8-FCC4-463F-180A-DE94BEA715D4}" dt="2023-10-30T19:46:03.186" v="29" actId="20577"/>
          <ac:spMkLst>
            <pc:docMk/>
            <pc:sldMk cId="3850125703" sldId="622"/>
            <ac:spMk id="48" creationId="{00000000-0000-0000-0000-000000000000}"/>
          </ac:spMkLst>
        </pc:spChg>
      </pc:sldChg>
      <pc:sldChg chg="del">
        <pc:chgData name="Eileen Fleming Suse" userId="S::efs3844@ads.northwestern.edu::725c94ef-d051-42d7-9d33-8572765d592b" providerId="AD" clId="Web-{61DCECB8-FCC4-463F-180A-DE94BEA715D4}" dt="2023-10-30T22:38:32.572" v="278"/>
        <pc:sldMkLst>
          <pc:docMk/>
          <pc:sldMk cId="1987746666" sldId="623"/>
        </pc:sldMkLst>
      </pc:sldChg>
      <pc:sldChg chg="del">
        <pc:chgData name="Eileen Fleming Suse" userId="S::efs3844@ads.northwestern.edu::725c94ef-d051-42d7-9d33-8572765d592b" providerId="AD" clId="Web-{61DCECB8-FCC4-463F-180A-DE94BEA715D4}" dt="2023-10-30T22:38:32.572" v="279"/>
        <pc:sldMkLst>
          <pc:docMk/>
          <pc:sldMk cId="924990962" sldId="625"/>
        </pc:sldMkLst>
      </pc:sldChg>
      <pc:sldChg chg="del">
        <pc:chgData name="Eileen Fleming Suse" userId="S::efs3844@ads.northwestern.edu::725c94ef-d051-42d7-9d33-8572765d592b" providerId="AD" clId="Web-{61DCECB8-FCC4-463F-180A-DE94BEA715D4}" dt="2023-10-30T22:38:32.541" v="272"/>
        <pc:sldMkLst>
          <pc:docMk/>
          <pc:sldMk cId="3004443360" sldId="626"/>
        </pc:sldMkLst>
      </pc:sldChg>
      <pc:sldChg chg="del">
        <pc:chgData name="Eileen Fleming Suse" userId="S::efs3844@ads.northwestern.edu::725c94ef-d051-42d7-9d33-8572765d592b" providerId="AD" clId="Web-{61DCECB8-FCC4-463F-180A-DE94BEA715D4}" dt="2023-10-30T22:38:32.556" v="274"/>
        <pc:sldMkLst>
          <pc:docMk/>
          <pc:sldMk cId="53107998" sldId="627"/>
        </pc:sldMkLst>
      </pc:sldChg>
      <pc:sldChg chg="del">
        <pc:chgData name="Eileen Fleming Suse" userId="S::efs3844@ads.northwestern.edu::725c94ef-d051-42d7-9d33-8572765d592b" providerId="AD" clId="Web-{61DCECB8-FCC4-463F-180A-DE94BEA715D4}" dt="2023-10-30T22:38:32.556" v="276"/>
        <pc:sldMkLst>
          <pc:docMk/>
          <pc:sldMk cId="534784336" sldId="628"/>
        </pc:sldMkLst>
      </pc:sldChg>
      <pc:sldChg chg="del">
        <pc:chgData name="Eileen Fleming Suse" userId="S::efs3844@ads.northwestern.edu::725c94ef-d051-42d7-9d33-8572765d592b" providerId="AD" clId="Web-{61DCECB8-FCC4-463F-180A-DE94BEA715D4}" dt="2023-10-30T22:38:32.556" v="277"/>
        <pc:sldMkLst>
          <pc:docMk/>
          <pc:sldMk cId="2981412015" sldId="629"/>
        </pc:sldMkLst>
      </pc:sldChg>
      <pc:sldChg chg="del">
        <pc:chgData name="Eileen Fleming Suse" userId="S::efs3844@ads.northwestern.edu::725c94ef-d051-42d7-9d33-8572765d592b" providerId="AD" clId="Web-{61DCECB8-FCC4-463F-180A-DE94BEA715D4}" dt="2023-10-30T22:38:32.541" v="273"/>
        <pc:sldMkLst>
          <pc:docMk/>
          <pc:sldMk cId="411397640" sldId="635"/>
        </pc:sldMkLst>
      </pc:sldChg>
      <pc:sldChg chg="del">
        <pc:chgData name="Eileen Fleming Suse" userId="S::efs3844@ads.northwestern.edu::725c94ef-d051-42d7-9d33-8572765d592b" providerId="AD" clId="Web-{61DCECB8-FCC4-463F-180A-DE94BEA715D4}" dt="2023-10-30T22:38:32.556" v="275"/>
        <pc:sldMkLst>
          <pc:docMk/>
          <pc:sldMk cId="975286347" sldId="636"/>
        </pc:sldMkLst>
      </pc:sldChg>
      <pc:sldChg chg="del">
        <pc:chgData name="Eileen Fleming Suse" userId="S::efs3844@ads.northwestern.edu::725c94ef-d051-42d7-9d33-8572765d592b" providerId="AD" clId="Web-{61DCECB8-FCC4-463F-180A-DE94BEA715D4}" dt="2023-10-30T22:39:33.089" v="297"/>
        <pc:sldMkLst>
          <pc:docMk/>
          <pc:sldMk cId="3321596273" sldId="640"/>
        </pc:sldMkLst>
      </pc:sldChg>
      <pc:sldChg chg="del">
        <pc:chgData name="Eileen Fleming Suse" userId="S::efs3844@ads.northwestern.edu::725c94ef-d051-42d7-9d33-8572765d592b" providerId="AD" clId="Web-{61DCECB8-FCC4-463F-180A-DE94BEA715D4}" dt="2023-10-30T22:47:53.494" v="365"/>
        <pc:sldMkLst>
          <pc:docMk/>
          <pc:sldMk cId="2460321206" sldId="641"/>
        </pc:sldMkLst>
      </pc:sldChg>
      <pc:sldChg chg="modSp">
        <pc:chgData name="Eileen Fleming Suse" userId="S::efs3844@ads.northwestern.edu::725c94ef-d051-42d7-9d33-8572765d592b" providerId="AD" clId="Web-{61DCECB8-FCC4-463F-180A-DE94BEA715D4}" dt="2023-10-30T22:49:41.685" v="398" actId="20577"/>
        <pc:sldMkLst>
          <pc:docMk/>
          <pc:sldMk cId="113281680" sldId="642"/>
        </pc:sldMkLst>
        <pc:spChg chg="mod">
          <ac:chgData name="Eileen Fleming Suse" userId="S::efs3844@ads.northwestern.edu::725c94ef-d051-42d7-9d33-8572765d592b" providerId="AD" clId="Web-{61DCECB8-FCC4-463F-180A-DE94BEA715D4}" dt="2023-10-30T22:49:41.685" v="398" actId="20577"/>
          <ac:spMkLst>
            <pc:docMk/>
            <pc:sldMk cId="113281680" sldId="642"/>
            <ac:spMk id="2" creationId="{F4AFEDD1-1B2F-10C8-9EFB-EFBD0CAB6989}"/>
          </ac:spMkLst>
        </pc:spChg>
      </pc:sldChg>
      <pc:sldChg chg="addSp delSp modSp add replId">
        <pc:chgData name="Eileen Fleming Suse" userId="S::efs3844@ads.northwestern.edu::725c94ef-d051-42d7-9d33-8572765d592b" providerId="AD" clId="Web-{61DCECB8-FCC4-463F-180A-DE94BEA715D4}" dt="2023-10-30T22:45:26.052" v="333" actId="1076"/>
        <pc:sldMkLst>
          <pc:docMk/>
          <pc:sldMk cId="2443892533" sldId="643"/>
        </pc:sldMkLst>
        <pc:spChg chg="mod">
          <ac:chgData name="Eileen Fleming Suse" userId="S::efs3844@ads.northwestern.edu::725c94ef-d051-42d7-9d33-8572765d592b" providerId="AD" clId="Web-{61DCECB8-FCC4-463F-180A-DE94BEA715D4}" dt="2023-10-30T20:11:56.425" v="228"/>
          <ac:spMkLst>
            <pc:docMk/>
            <pc:sldMk cId="2443892533" sldId="643"/>
            <ac:spMk id="2" creationId="{85302686-DF06-3304-66CB-1E21F4D086DC}"/>
          </ac:spMkLst>
        </pc:spChg>
        <pc:spChg chg="mod">
          <ac:chgData name="Eileen Fleming Suse" userId="S::efs3844@ads.northwestern.edu::725c94ef-d051-42d7-9d33-8572765d592b" providerId="AD" clId="Web-{61DCECB8-FCC4-463F-180A-DE94BEA715D4}" dt="2023-10-30T22:44:31.473" v="326" actId="1076"/>
          <ac:spMkLst>
            <pc:docMk/>
            <pc:sldMk cId="2443892533" sldId="643"/>
            <ac:spMk id="3" creationId="{E7ECD19B-85BC-6652-2856-676802964CFA}"/>
          </ac:spMkLst>
        </pc:spChg>
        <pc:spChg chg="add mod">
          <ac:chgData name="Eileen Fleming Suse" userId="S::efs3844@ads.northwestern.edu::725c94ef-d051-42d7-9d33-8572765d592b" providerId="AD" clId="Web-{61DCECB8-FCC4-463F-180A-DE94BEA715D4}" dt="2023-10-30T22:45:26.052" v="333" actId="1076"/>
          <ac:spMkLst>
            <pc:docMk/>
            <pc:sldMk cId="2443892533" sldId="643"/>
            <ac:spMk id="10" creationId="{F7DE78CF-32A6-61A0-EEC5-F837E089D3A4}"/>
          </ac:spMkLst>
        </pc:spChg>
        <pc:picChg chg="add mod">
          <ac:chgData name="Eileen Fleming Suse" userId="S::efs3844@ads.northwestern.edu::725c94ef-d051-42d7-9d33-8572765d592b" providerId="AD" clId="Web-{61DCECB8-FCC4-463F-180A-DE94BEA715D4}" dt="2023-10-30T22:44:40.629" v="327" actId="1076"/>
          <ac:picMkLst>
            <pc:docMk/>
            <pc:sldMk cId="2443892533" sldId="643"/>
            <ac:picMk id="6" creationId="{3066B4FD-BDBD-74CF-7224-C3F9CDFF7807}"/>
          </ac:picMkLst>
        </pc:picChg>
        <pc:picChg chg="add mod">
          <ac:chgData name="Eileen Fleming Suse" userId="S::efs3844@ads.northwestern.edu::725c94ef-d051-42d7-9d33-8572765d592b" providerId="AD" clId="Web-{61DCECB8-FCC4-463F-180A-DE94BEA715D4}" dt="2023-10-30T22:44:49.645" v="328" actId="1076"/>
          <ac:picMkLst>
            <pc:docMk/>
            <pc:sldMk cId="2443892533" sldId="643"/>
            <ac:picMk id="7" creationId="{8561AC10-C045-61C5-C572-29E58C8EEF9B}"/>
          </ac:picMkLst>
        </pc:picChg>
        <pc:picChg chg="add del mod">
          <ac:chgData name="Eileen Fleming Suse" userId="S::efs3844@ads.northwestern.edu::725c94ef-d051-42d7-9d33-8572765d592b" providerId="AD" clId="Web-{61DCECB8-FCC4-463F-180A-DE94BEA715D4}" dt="2023-10-30T22:42:02.500" v="309"/>
          <ac:picMkLst>
            <pc:docMk/>
            <pc:sldMk cId="2443892533" sldId="643"/>
            <ac:picMk id="8" creationId="{56E0414E-9ADF-67F2-0036-4AC949F0B367}"/>
          </ac:picMkLst>
        </pc:picChg>
        <pc:picChg chg="add mod">
          <ac:chgData name="Eileen Fleming Suse" userId="S::efs3844@ads.northwestern.edu::725c94ef-d051-42d7-9d33-8572765d592b" providerId="AD" clId="Web-{61DCECB8-FCC4-463F-180A-DE94BEA715D4}" dt="2023-10-30T22:45:16.927" v="332" actId="14100"/>
          <ac:picMkLst>
            <pc:docMk/>
            <pc:sldMk cId="2443892533" sldId="643"/>
            <ac:picMk id="9" creationId="{EBD31F80-F4AE-0A76-9CD2-E23AD71C79DA}"/>
          </ac:picMkLst>
        </pc:picChg>
      </pc:sldChg>
    </pc:docChg>
  </pc:docChgLst>
  <pc:docChgLst>
    <pc:chgData name="Caldarelli, Leslie" userId="S::lcaldarelli_luriechildrens.org#ext#@nuwildcat.onmicrosoft.com::cd79b54d-c14e-4199-a04a-39c6f592e710" providerId="AD" clId="Web-{3A3E4FEE-6F9B-7EC3-B167-3C31BBE96824}"/>
    <pc:docChg chg="modSld">
      <pc:chgData name="Caldarelli, Leslie" userId="S::lcaldarelli_luriechildrens.org#ext#@nuwildcat.onmicrosoft.com::cd79b54d-c14e-4199-a04a-39c6f592e710" providerId="AD" clId="Web-{3A3E4FEE-6F9B-7EC3-B167-3C31BBE96824}" dt="2023-10-31T16:46:24.002" v="562"/>
      <pc:docMkLst>
        <pc:docMk/>
      </pc:docMkLst>
      <pc:sldChg chg="modSp">
        <pc:chgData name="Caldarelli, Leslie" userId="S::lcaldarelli_luriechildrens.org#ext#@nuwildcat.onmicrosoft.com::cd79b54d-c14e-4199-a04a-39c6f592e710" providerId="AD" clId="Web-{3A3E4FEE-6F9B-7EC3-B167-3C31BBE96824}" dt="2023-10-31T15:32:47.201" v="7" actId="20577"/>
        <pc:sldMkLst>
          <pc:docMk/>
          <pc:sldMk cId="3127921386" sldId="280"/>
        </pc:sldMkLst>
        <pc:spChg chg="mod">
          <ac:chgData name="Caldarelli, Leslie" userId="S::lcaldarelli_luriechildrens.org#ext#@nuwildcat.onmicrosoft.com::cd79b54d-c14e-4199-a04a-39c6f592e710" providerId="AD" clId="Web-{3A3E4FEE-6F9B-7EC3-B167-3C31BBE96824}" dt="2023-10-31T15:32:47.201" v="7" actId="20577"/>
          <ac:spMkLst>
            <pc:docMk/>
            <pc:sldMk cId="3127921386" sldId="280"/>
            <ac:spMk id="9" creationId="{7F20A429-9947-F447-2DF2-A5C17B5C6EC1}"/>
          </ac:spMkLst>
        </pc:spChg>
      </pc:sldChg>
      <pc:sldChg chg="modSp">
        <pc:chgData name="Caldarelli, Leslie" userId="S::lcaldarelli_luriechildrens.org#ext#@nuwildcat.onmicrosoft.com::cd79b54d-c14e-4199-a04a-39c6f592e710" providerId="AD" clId="Web-{3A3E4FEE-6F9B-7EC3-B167-3C31BBE96824}" dt="2023-10-31T15:41:06.250" v="123" actId="1076"/>
        <pc:sldMkLst>
          <pc:docMk/>
          <pc:sldMk cId="3635595752" sldId="545"/>
        </pc:sldMkLst>
        <pc:spChg chg="mod">
          <ac:chgData name="Caldarelli, Leslie" userId="S::lcaldarelli_luriechildrens.org#ext#@nuwildcat.onmicrosoft.com::cd79b54d-c14e-4199-a04a-39c6f592e710" providerId="AD" clId="Web-{3A3E4FEE-6F9B-7EC3-B167-3C31BBE96824}" dt="2023-10-31T15:41:06.250" v="123" actId="1076"/>
          <ac:spMkLst>
            <pc:docMk/>
            <pc:sldMk cId="3635595752" sldId="545"/>
            <ac:spMk id="2" creationId="{39AAB3FF-760A-B654-5F1B-78AD5BEB6B57}"/>
          </ac:spMkLst>
        </pc:spChg>
      </pc:sldChg>
      <pc:sldChg chg="modNotes">
        <pc:chgData name="Caldarelli, Leslie" userId="S::lcaldarelli_luriechildrens.org#ext#@nuwildcat.onmicrosoft.com::cd79b54d-c14e-4199-a04a-39c6f592e710" providerId="AD" clId="Web-{3A3E4FEE-6F9B-7EC3-B167-3C31BBE96824}" dt="2023-10-31T16:30:46.170" v="461"/>
        <pc:sldMkLst>
          <pc:docMk/>
          <pc:sldMk cId="3745706804" sldId="548"/>
        </pc:sldMkLst>
      </pc:sldChg>
      <pc:sldChg chg="addSp delSp modSp mod setBg addAnim delAnim setClrOvrMap">
        <pc:chgData name="Caldarelli, Leslie" userId="S::lcaldarelli_luriechildrens.org#ext#@nuwildcat.onmicrosoft.com::cd79b54d-c14e-4199-a04a-39c6f592e710" providerId="AD" clId="Web-{3A3E4FEE-6F9B-7EC3-B167-3C31BBE96824}" dt="2023-10-31T16:35:55.119" v="485" actId="20577"/>
        <pc:sldMkLst>
          <pc:docMk/>
          <pc:sldMk cId="3962270618" sldId="549"/>
        </pc:sldMkLst>
        <pc:spChg chg="mod">
          <ac:chgData name="Caldarelli, Leslie" userId="S::lcaldarelli_luriechildrens.org#ext#@nuwildcat.onmicrosoft.com::cd79b54d-c14e-4199-a04a-39c6f592e710" providerId="AD" clId="Web-{3A3E4FEE-6F9B-7EC3-B167-3C31BBE96824}" dt="2023-10-31T16:35:55.119" v="485"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3A3E4FEE-6F9B-7EC3-B167-3C31BBE96824}" dt="2023-10-31T16:35:19.696" v="483"/>
          <ac:spMkLst>
            <pc:docMk/>
            <pc:sldMk cId="3962270618" sldId="549"/>
            <ac:spMk id="3" creationId="{CBB95935-58B8-573E-DAFB-D9AE51F0FF09}"/>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9" creationId="{C1DD1A8A-57D5-4A81-AD04-532B043C5611}"/>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11" creationId="{007891EC-4501-44ED-A8C8-B11B6DB767AB}"/>
          </ac:spMkLst>
        </pc:spChg>
        <pc:spChg chg="add del">
          <ac:chgData name="Caldarelli, Leslie" userId="S::lcaldarelli_luriechildrens.org#ext#@nuwildcat.onmicrosoft.com::cd79b54d-c14e-4199-a04a-39c6f592e710" providerId="AD" clId="Web-{3A3E4FEE-6F9B-7EC3-B167-3C31BBE96824}" dt="2023-10-31T16:34:55.773" v="474"/>
          <ac:spMkLst>
            <pc:docMk/>
            <pc:sldMk cId="3962270618" sldId="549"/>
            <ac:spMk id="13" creationId="{71B2258F-86CA-4D4D-8270-BC05FCDEBFB3}"/>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6" creationId="{C1DD1A8A-57D5-4A81-AD04-532B043C5611}"/>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8" creationId="{007891EC-4501-44ED-A8C8-B11B6DB767AB}"/>
          </ac:spMkLst>
        </pc:spChg>
        <pc:spChg chg="add del">
          <ac:chgData name="Caldarelli, Leslie" userId="S::lcaldarelli_luriechildrens.org#ext#@nuwildcat.onmicrosoft.com::cd79b54d-c14e-4199-a04a-39c6f592e710" providerId="AD" clId="Web-{3A3E4FEE-6F9B-7EC3-B167-3C31BBE96824}" dt="2023-10-31T16:35:19.633" v="482"/>
          <ac:spMkLst>
            <pc:docMk/>
            <pc:sldMk cId="3962270618" sldId="549"/>
            <ac:spMk id="20" creationId="{71B2258F-86CA-4D4D-8270-BC05FCDEBFB3}"/>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3" creationId="{C1DD1A8A-57D5-4A81-AD04-532B043C5611}"/>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5" creationId="{007891EC-4501-44ED-A8C8-B11B6DB767AB}"/>
          </ac:spMkLst>
        </pc:spChg>
        <pc:picChg chg="add del">
          <ac:chgData name="Caldarelli, Leslie" userId="S::lcaldarelli_luriechildrens.org#ext#@nuwildcat.onmicrosoft.com::cd79b54d-c14e-4199-a04a-39c6f592e710" providerId="AD" clId="Web-{3A3E4FEE-6F9B-7EC3-B167-3C31BBE96824}" dt="2023-10-31T16:34:44.820" v="470"/>
          <ac:picMkLst>
            <pc:docMk/>
            <pc:sldMk cId="3962270618" sldId="549"/>
            <ac:picMk id="5" creationId="{9234C1D4-BF95-D24C-8A69-890193E28AB4}"/>
          </ac:picMkLst>
        </pc:picChg>
        <pc:picChg chg="add del">
          <ac:chgData name="Caldarelli, Leslie" userId="S::lcaldarelli_luriechildrens.org#ext#@nuwildcat.onmicrosoft.com::cd79b54d-c14e-4199-a04a-39c6f592e710" providerId="AD" clId="Web-{3A3E4FEE-6F9B-7EC3-B167-3C31BBE96824}" dt="2023-10-31T16:34:55.773" v="474"/>
          <ac:picMkLst>
            <pc:docMk/>
            <pc:sldMk cId="3962270618" sldId="549"/>
            <ac:picMk id="14" creationId="{D567A817-6C54-F3A2-6BCD-40C724D6CB5B}"/>
          </ac:picMkLst>
        </pc:picChg>
        <pc:picChg chg="add del">
          <ac:chgData name="Caldarelli, Leslie" userId="S::lcaldarelli_luriechildrens.org#ext#@nuwildcat.onmicrosoft.com::cd79b54d-c14e-4199-a04a-39c6f592e710" providerId="AD" clId="Web-{3A3E4FEE-6F9B-7EC3-B167-3C31BBE96824}" dt="2023-10-31T16:35:07.935" v="478"/>
          <ac:picMkLst>
            <pc:docMk/>
            <pc:sldMk cId="3962270618" sldId="549"/>
            <ac:picMk id="17" creationId="{4F03DE1D-DDB8-CDA0-8B03-FFAB4111BF40}"/>
          </ac:picMkLst>
        </pc:picChg>
        <pc:picChg chg="add del">
          <ac:chgData name="Caldarelli, Leslie" userId="S::lcaldarelli_luriechildrens.org#ext#@nuwildcat.onmicrosoft.com::cd79b54d-c14e-4199-a04a-39c6f592e710" providerId="AD" clId="Web-{3A3E4FEE-6F9B-7EC3-B167-3C31BBE96824}" dt="2023-10-31T16:35:19.633" v="482"/>
          <ac:picMkLst>
            <pc:docMk/>
            <pc:sldMk cId="3962270618" sldId="549"/>
            <ac:picMk id="21" creationId="{D567A817-6C54-F3A2-6BCD-40C724D6CB5B}"/>
          </ac:picMkLst>
        </pc:picChg>
        <pc:picChg chg="add">
          <ac:chgData name="Caldarelli, Leslie" userId="S::lcaldarelli_luriechildrens.org#ext#@nuwildcat.onmicrosoft.com::cd79b54d-c14e-4199-a04a-39c6f592e710" providerId="AD" clId="Web-{3A3E4FEE-6F9B-7EC3-B167-3C31BBE96824}" dt="2023-10-31T16:35:19.696" v="483"/>
          <ac:picMkLst>
            <pc:docMk/>
            <pc:sldMk cId="3962270618" sldId="549"/>
            <ac:picMk id="24" creationId="{4F03DE1D-DDB8-CDA0-8B03-FFAB4111BF40}"/>
          </ac:picMkLst>
        </pc:picChg>
      </pc:sldChg>
      <pc:sldChg chg="modSp">
        <pc:chgData name="Caldarelli, Leslie" userId="S::lcaldarelli_luriechildrens.org#ext#@nuwildcat.onmicrosoft.com::cd79b54d-c14e-4199-a04a-39c6f592e710" providerId="AD" clId="Web-{3A3E4FEE-6F9B-7EC3-B167-3C31BBE96824}" dt="2023-10-31T16:34:30.288" v="468" actId="1076"/>
        <pc:sldMkLst>
          <pc:docMk/>
          <pc:sldMk cId="3472964082" sldId="550"/>
        </pc:sldMkLst>
        <pc:spChg chg="mod">
          <ac:chgData name="Caldarelli, Leslie" userId="S::lcaldarelli_luriechildrens.org#ext#@nuwildcat.onmicrosoft.com::cd79b54d-c14e-4199-a04a-39c6f592e710" providerId="AD" clId="Web-{3A3E4FEE-6F9B-7EC3-B167-3C31BBE96824}" dt="2023-10-31T16:34:30.288" v="468" actId="1076"/>
          <ac:spMkLst>
            <pc:docMk/>
            <pc:sldMk cId="3472964082" sldId="550"/>
            <ac:spMk id="14"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33:34.098" v="466" actId="1076"/>
        <pc:sldMkLst>
          <pc:docMk/>
          <pc:sldMk cId="2562283095" sldId="551"/>
        </pc:sldMkLst>
        <pc:spChg chg="mod">
          <ac:chgData name="Caldarelli, Leslie" userId="S::lcaldarelli_luriechildrens.org#ext#@nuwildcat.onmicrosoft.com::cd79b54d-c14e-4199-a04a-39c6f592e710" providerId="AD" clId="Web-{3A3E4FEE-6F9B-7EC3-B167-3C31BBE96824}" dt="2023-10-31T16:32:28.205" v="464" actId="1076"/>
          <ac:spMkLst>
            <pc:docMk/>
            <pc:sldMk cId="2562283095" sldId="551"/>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3:29.832" v="465" actId="1076"/>
          <ac:spMkLst>
            <pc:docMk/>
            <pc:sldMk cId="2562283095" sldId="551"/>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3:34.098" v="466" actId="1076"/>
          <ac:grpSpMkLst>
            <pc:docMk/>
            <pc:sldMk cId="2562283095" sldId="551"/>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5:37:36.618" v="67" actId="1076"/>
        <pc:sldMkLst>
          <pc:docMk/>
          <pc:sldMk cId="714682852" sldId="552"/>
        </pc:sldMkLst>
        <pc:spChg chg="mod">
          <ac:chgData name="Caldarelli, Leslie" userId="S::lcaldarelli_luriechildrens.org#ext#@nuwildcat.onmicrosoft.com::cd79b54d-c14e-4199-a04a-39c6f592e710" providerId="AD" clId="Web-{3A3E4FEE-6F9B-7EC3-B167-3C31BBE96824}" dt="2023-10-31T15:37:36.618" v="67" actId="1076"/>
          <ac:spMkLst>
            <pc:docMk/>
            <pc:sldMk cId="714682852" sldId="552"/>
            <ac:spMk id="19" creationId="{8F56D947-B18E-6292-FB32-17E6BBE1C7B7}"/>
          </ac:spMkLst>
        </pc:spChg>
      </pc:sldChg>
      <pc:sldChg chg="modSp">
        <pc:chgData name="Caldarelli, Leslie" userId="S::lcaldarelli_luriechildrens.org#ext#@nuwildcat.onmicrosoft.com::cd79b54d-c14e-4199-a04a-39c6f592e710" providerId="AD" clId="Web-{3A3E4FEE-6F9B-7EC3-B167-3C31BBE96824}" dt="2023-10-31T15:39:37.794" v="95" actId="14100"/>
        <pc:sldMkLst>
          <pc:docMk/>
          <pc:sldMk cId="1522616096" sldId="555"/>
        </pc:sldMkLst>
        <pc:spChg chg="mod">
          <ac:chgData name="Caldarelli, Leslie" userId="S::lcaldarelli_luriechildrens.org#ext#@nuwildcat.onmicrosoft.com::cd79b54d-c14e-4199-a04a-39c6f592e710" providerId="AD" clId="Web-{3A3E4FEE-6F9B-7EC3-B167-3C31BBE96824}" dt="2023-10-31T15:39:37.794" v="95" actId="14100"/>
          <ac:spMkLst>
            <pc:docMk/>
            <pc:sldMk cId="1522616096" sldId="555"/>
            <ac:spMk id="2" creationId="{F40AE700-1499-46B3-C70A-C723802CD680}"/>
          </ac:spMkLst>
        </pc:spChg>
      </pc:sldChg>
      <pc:sldChg chg="modSp modNotes">
        <pc:chgData name="Caldarelli, Leslie" userId="S::lcaldarelli_luriechildrens.org#ext#@nuwildcat.onmicrosoft.com::cd79b54d-c14e-4199-a04a-39c6f592e710" providerId="AD" clId="Web-{3A3E4FEE-6F9B-7EC3-B167-3C31BBE96824}" dt="2023-10-31T15:36:18.880" v="66"/>
        <pc:sldMkLst>
          <pc:docMk/>
          <pc:sldMk cId="1514756035" sldId="556"/>
        </pc:sldMkLst>
        <pc:spChg chg="mod">
          <ac:chgData name="Caldarelli, Leslie" userId="S::lcaldarelli_luriechildrens.org#ext#@nuwildcat.onmicrosoft.com::cd79b54d-c14e-4199-a04a-39c6f592e710" providerId="AD" clId="Web-{3A3E4FEE-6F9B-7EC3-B167-3C31BBE96824}" dt="2023-10-31T15:34:46.736" v="60" actId="20577"/>
          <ac:spMkLst>
            <pc:docMk/>
            <pc:sldMk cId="1514756035" sldId="556"/>
            <ac:spMk id="48" creationId="{9DA002CE-213B-0EFE-03DC-C3DB65BCF003}"/>
          </ac:spMkLst>
        </pc:spChg>
      </pc:sldChg>
      <pc:sldChg chg="modSp">
        <pc:chgData name="Caldarelli, Leslie" userId="S::lcaldarelli_luriechildrens.org#ext#@nuwildcat.onmicrosoft.com::cd79b54d-c14e-4199-a04a-39c6f592e710" providerId="AD" clId="Web-{3A3E4FEE-6F9B-7EC3-B167-3C31BBE96824}" dt="2023-10-31T15:42:29.409" v="146" actId="20577"/>
        <pc:sldMkLst>
          <pc:docMk/>
          <pc:sldMk cId="773696652" sldId="558"/>
        </pc:sldMkLst>
        <pc:spChg chg="mod">
          <ac:chgData name="Caldarelli, Leslie" userId="S::lcaldarelli_luriechildrens.org#ext#@nuwildcat.onmicrosoft.com::cd79b54d-c14e-4199-a04a-39c6f592e710" providerId="AD" clId="Web-{3A3E4FEE-6F9B-7EC3-B167-3C31BBE96824}" dt="2023-10-31T15:42:29.409" v="146" actId="20577"/>
          <ac:spMkLst>
            <pc:docMk/>
            <pc:sldMk cId="773696652" sldId="558"/>
            <ac:spMk id="2" creationId="{F40AE700-1499-46B3-C70A-C723802CD680}"/>
          </ac:spMkLst>
        </pc:spChg>
      </pc:sldChg>
      <pc:sldChg chg="modSp">
        <pc:chgData name="Caldarelli, Leslie" userId="S::lcaldarelli_luriechildrens.org#ext#@nuwildcat.onmicrosoft.com::cd79b54d-c14e-4199-a04a-39c6f592e710" providerId="AD" clId="Web-{3A3E4FEE-6F9B-7EC3-B167-3C31BBE96824}" dt="2023-10-31T16:36:35.433" v="487" actId="20577"/>
        <pc:sldMkLst>
          <pc:docMk/>
          <pc:sldMk cId="3067427377" sldId="560"/>
        </pc:sldMkLst>
        <pc:spChg chg="mod">
          <ac:chgData name="Caldarelli, Leslie" userId="S::lcaldarelli_luriechildrens.org#ext#@nuwildcat.onmicrosoft.com::cd79b54d-c14e-4199-a04a-39c6f592e710" providerId="AD" clId="Web-{3A3E4FEE-6F9B-7EC3-B167-3C31BBE96824}" dt="2023-10-31T16:36:35.433" v="487"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3A3E4FEE-6F9B-7EC3-B167-3C31BBE96824}" dt="2023-10-31T15:57:10.707" v="211" actId="1076"/>
        <pc:sldMkLst>
          <pc:docMk/>
          <pc:sldMk cId="3845418986" sldId="563"/>
        </pc:sldMkLst>
        <pc:spChg chg="mod">
          <ac:chgData name="Caldarelli, Leslie" userId="S::lcaldarelli_luriechildrens.org#ext#@nuwildcat.onmicrosoft.com::cd79b54d-c14e-4199-a04a-39c6f592e710" providerId="AD" clId="Web-{3A3E4FEE-6F9B-7EC3-B167-3C31BBE96824}" dt="2023-10-31T15:57:10.707" v="211" actId="1076"/>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3A3E4FEE-6F9B-7EC3-B167-3C31BBE96824}" dt="2023-10-31T16:06:34.337" v="245" actId="1076"/>
        <pc:sldMkLst>
          <pc:docMk/>
          <pc:sldMk cId="3419957415" sldId="577"/>
        </pc:sldMkLst>
        <pc:spChg chg="mod">
          <ac:chgData name="Caldarelli, Leslie" userId="S::lcaldarelli_luriechildrens.org#ext#@nuwildcat.onmicrosoft.com::cd79b54d-c14e-4199-a04a-39c6f592e710" providerId="AD" clId="Web-{3A3E4FEE-6F9B-7EC3-B167-3C31BBE96824}" dt="2023-10-31T15:55:30.219" v="210" actId="1076"/>
          <ac:spMkLst>
            <pc:docMk/>
            <pc:sldMk cId="3419957415" sldId="577"/>
            <ac:spMk id="23" creationId="{00000000-0000-0000-0000-000000000000}"/>
          </ac:spMkLst>
        </pc:spChg>
        <pc:spChg chg="mod">
          <ac:chgData name="Caldarelli, Leslie" userId="S::lcaldarelli_luriechildrens.org#ext#@nuwildcat.onmicrosoft.com::cd79b54d-c14e-4199-a04a-39c6f592e710" providerId="AD" clId="Web-{3A3E4FEE-6F9B-7EC3-B167-3C31BBE96824}" dt="2023-10-31T16:06:34.337" v="245" actId="1076"/>
          <ac:spMkLst>
            <pc:docMk/>
            <pc:sldMk cId="3419957415" sldId="577"/>
            <ac:spMk id="65" creationId="{28CD4543-B35F-C7BE-C5DB-7DF0067C551A}"/>
          </ac:spMkLst>
        </pc:spChg>
      </pc:sldChg>
      <pc:sldChg chg="modSp">
        <pc:chgData name="Caldarelli, Leslie" userId="S::lcaldarelli_luriechildrens.org#ext#@nuwildcat.onmicrosoft.com::cd79b54d-c14e-4199-a04a-39c6f592e710" providerId="AD" clId="Web-{3A3E4FEE-6F9B-7EC3-B167-3C31BBE96824}" dt="2023-10-31T16:22:43.293" v="377" actId="1076"/>
        <pc:sldMkLst>
          <pc:docMk/>
          <pc:sldMk cId="785115983" sldId="578"/>
        </pc:sldMkLst>
        <pc:spChg chg="mod">
          <ac:chgData name="Caldarelli, Leslie" userId="S::lcaldarelli_luriechildrens.org#ext#@nuwildcat.onmicrosoft.com::cd79b54d-c14e-4199-a04a-39c6f592e710" providerId="AD" clId="Web-{3A3E4FEE-6F9B-7EC3-B167-3C31BBE96824}" dt="2023-10-31T16:22:43.293" v="377" actId="1076"/>
          <ac:spMkLst>
            <pc:docMk/>
            <pc:sldMk cId="785115983" sldId="578"/>
            <ac:spMk id="54" creationId="{3719DC3C-330E-96DC-F3E0-D6B8EE5E5A3C}"/>
          </ac:spMkLst>
        </pc:spChg>
      </pc:sldChg>
      <pc:sldChg chg="modSp modNotes">
        <pc:chgData name="Caldarelli, Leslie" userId="S::lcaldarelli_luriechildrens.org#ext#@nuwildcat.onmicrosoft.com::cd79b54d-c14e-4199-a04a-39c6f592e710" providerId="AD" clId="Web-{3A3E4FEE-6F9B-7EC3-B167-3C31BBE96824}" dt="2023-10-31T16:19:01.207" v="317"/>
        <pc:sldMkLst>
          <pc:docMk/>
          <pc:sldMk cId="3030449316" sldId="579"/>
        </pc:sldMkLst>
        <pc:spChg chg="mod">
          <ac:chgData name="Caldarelli, Leslie" userId="S::lcaldarelli_luriechildrens.org#ext#@nuwildcat.onmicrosoft.com::cd79b54d-c14e-4199-a04a-39c6f592e710" providerId="AD" clId="Web-{3A3E4FEE-6F9B-7EC3-B167-3C31BBE96824}" dt="2023-10-31T16:18:25.362" v="289" actId="20577"/>
          <ac:spMkLst>
            <pc:docMk/>
            <pc:sldMk cId="3030449316" sldId="579"/>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15:55.341" v="280" actId="1076"/>
          <ac:spMkLst>
            <pc:docMk/>
            <pc:sldMk cId="3030449316" sldId="579"/>
            <ac:spMk id="56" creationId="{AB0F7BDF-C613-8BB0-BFCB-8F26B40EC06E}"/>
          </ac:spMkLst>
        </pc:spChg>
      </pc:sldChg>
      <pc:sldChg chg="modSp">
        <pc:chgData name="Caldarelli, Leslie" userId="S::lcaldarelli_luriechildrens.org#ext#@nuwildcat.onmicrosoft.com::cd79b54d-c14e-4199-a04a-39c6f592e710" providerId="AD" clId="Web-{3A3E4FEE-6F9B-7EC3-B167-3C31BBE96824}" dt="2023-10-31T16:05:55.132" v="238" actId="14100"/>
        <pc:sldMkLst>
          <pc:docMk/>
          <pc:sldMk cId="4283907660" sldId="580"/>
        </pc:sldMkLst>
        <pc:spChg chg="mod">
          <ac:chgData name="Caldarelli, Leslie" userId="S::lcaldarelli_luriechildrens.org#ext#@nuwildcat.onmicrosoft.com::cd79b54d-c14e-4199-a04a-39c6f592e710" providerId="AD" clId="Web-{3A3E4FEE-6F9B-7EC3-B167-3C31BBE96824}" dt="2023-10-31T16:05:55.132" v="238" actId="14100"/>
          <ac:spMkLst>
            <pc:docMk/>
            <pc:sldMk cId="4283907660" sldId="580"/>
            <ac:spMk id="71" creationId="{755536B4-F5C2-3697-61E6-0681DE0C12BD}"/>
          </ac:spMkLst>
        </pc:spChg>
      </pc:sldChg>
      <pc:sldChg chg="modSp">
        <pc:chgData name="Caldarelli, Leslie" userId="S::lcaldarelli_luriechildrens.org#ext#@nuwildcat.onmicrosoft.com::cd79b54d-c14e-4199-a04a-39c6f592e710" providerId="AD" clId="Web-{3A3E4FEE-6F9B-7EC3-B167-3C31BBE96824}" dt="2023-10-31T16:06:16.117" v="242" actId="1076"/>
        <pc:sldMkLst>
          <pc:docMk/>
          <pc:sldMk cId="3429940818" sldId="581"/>
        </pc:sldMkLst>
        <pc:spChg chg="mod">
          <ac:chgData name="Caldarelli, Leslie" userId="S::lcaldarelli_luriechildrens.org#ext#@nuwildcat.onmicrosoft.com::cd79b54d-c14e-4199-a04a-39c6f592e710" providerId="AD" clId="Web-{3A3E4FEE-6F9B-7EC3-B167-3C31BBE96824}" dt="2023-10-31T15:59:33.212" v="212" actId="1076"/>
          <ac:spMkLst>
            <pc:docMk/>
            <pc:sldMk cId="3429940818" sldId="581"/>
            <ac:spMk id="68" creationId="{00000000-0000-0000-0000-000000000000}"/>
          </ac:spMkLst>
        </pc:spChg>
        <pc:spChg chg="mod">
          <ac:chgData name="Caldarelli, Leslie" userId="S::lcaldarelli_luriechildrens.org#ext#@nuwildcat.onmicrosoft.com::cd79b54d-c14e-4199-a04a-39c6f592e710" providerId="AD" clId="Web-{3A3E4FEE-6F9B-7EC3-B167-3C31BBE96824}" dt="2023-10-31T16:06:16.117" v="242" actId="1076"/>
          <ac:spMkLst>
            <pc:docMk/>
            <pc:sldMk cId="3429940818" sldId="581"/>
            <ac:spMk id="75" creationId="{20D2DCD7-9B15-FB75-E33B-CECC88A394B8}"/>
          </ac:spMkLst>
        </pc:spChg>
      </pc:sldChg>
      <pc:sldChg chg="modNotes">
        <pc:chgData name="Caldarelli, Leslie" userId="S::lcaldarelli_luriechildrens.org#ext#@nuwildcat.onmicrosoft.com::cd79b54d-c14e-4199-a04a-39c6f592e710" providerId="AD" clId="Web-{3A3E4FEE-6F9B-7EC3-B167-3C31BBE96824}" dt="2023-10-31T15:44:25.335" v="147"/>
        <pc:sldMkLst>
          <pc:docMk/>
          <pc:sldMk cId="3870927286" sldId="583"/>
        </pc:sldMkLst>
      </pc:sldChg>
      <pc:sldChg chg="modSp">
        <pc:chgData name="Caldarelli, Leslie" userId="S::lcaldarelli_luriechildrens.org#ext#@nuwildcat.onmicrosoft.com::cd79b54d-c14e-4199-a04a-39c6f592e710" providerId="AD" clId="Web-{3A3E4FEE-6F9B-7EC3-B167-3C31BBE96824}" dt="2023-10-31T16:04:27.769" v="228" actId="20577"/>
        <pc:sldMkLst>
          <pc:docMk/>
          <pc:sldMk cId="3573947264" sldId="584"/>
        </pc:sldMkLst>
        <pc:spChg chg="mod">
          <ac:chgData name="Caldarelli, Leslie" userId="S::lcaldarelli_luriechildrens.org#ext#@nuwildcat.onmicrosoft.com::cd79b54d-c14e-4199-a04a-39c6f592e710" providerId="AD" clId="Web-{3A3E4FEE-6F9B-7EC3-B167-3C31BBE96824}" dt="2023-10-31T16:04:27.769" v="228" actId="20577"/>
          <ac:spMkLst>
            <pc:docMk/>
            <pc:sldMk cId="3573947264" sldId="584"/>
            <ac:spMk id="42" creationId="{E9E3C6CF-96AA-68D8-0977-EC06066DAB15}"/>
          </ac:spMkLst>
        </pc:spChg>
      </pc:sldChg>
      <pc:sldChg chg="modSp modNotes">
        <pc:chgData name="Caldarelli, Leslie" userId="S::lcaldarelli_luriechildrens.org#ext#@nuwildcat.onmicrosoft.com::cd79b54d-c14e-4199-a04a-39c6f592e710" providerId="AD" clId="Web-{3A3E4FEE-6F9B-7EC3-B167-3C31BBE96824}" dt="2023-10-31T16:30:34.998" v="460" actId="1076"/>
        <pc:sldMkLst>
          <pc:docMk/>
          <pc:sldMk cId="3561966490" sldId="585"/>
        </pc:sldMkLst>
        <pc:spChg chg="mod">
          <ac:chgData name="Caldarelli, Leslie" userId="S::lcaldarelli_luriechildrens.org#ext#@nuwildcat.onmicrosoft.com::cd79b54d-c14e-4199-a04a-39c6f592e710" providerId="AD" clId="Web-{3A3E4FEE-6F9B-7EC3-B167-3C31BBE96824}" dt="2023-10-31T16:25:13.768" v="380" actId="20577"/>
          <ac:spMkLst>
            <pc:docMk/>
            <pc:sldMk cId="3561966490" sldId="585"/>
            <ac:spMk id="10" creationId="{00000000-0000-0000-0000-000000000000}"/>
          </ac:spMkLst>
        </pc:spChg>
        <pc:spChg chg="mod">
          <ac:chgData name="Caldarelli, Leslie" userId="S::lcaldarelli_luriechildrens.org#ext#@nuwildcat.onmicrosoft.com::cd79b54d-c14e-4199-a04a-39c6f592e710" providerId="AD" clId="Web-{3A3E4FEE-6F9B-7EC3-B167-3C31BBE96824}" dt="2023-10-31T16:30:34.998" v="460" actId="1076"/>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3A3E4FEE-6F9B-7EC3-B167-3C31BBE96824}" dt="2023-10-31T16:25:17.846" v="382"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3A3E4FEE-6F9B-7EC3-B167-3C31BBE96824}" dt="2023-10-31T16:25:25.331" v="384" actId="20577"/>
          <ac:spMkLst>
            <pc:docMk/>
            <pc:sldMk cId="3561966490" sldId="585"/>
            <ac:spMk id="21" creationId="{00000000-0000-0000-0000-000000000000}"/>
          </ac:spMkLst>
        </pc:spChg>
        <pc:spChg chg="mod">
          <ac:chgData name="Caldarelli, Leslie" userId="S::lcaldarelli_luriechildrens.org#ext#@nuwildcat.onmicrosoft.com::cd79b54d-c14e-4199-a04a-39c6f592e710" providerId="AD" clId="Web-{3A3E4FEE-6F9B-7EC3-B167-3C31BBE96824}" dt="2023-10-31T16:30:08.481" v="459" actId="20577"/>
          <ac:spMkLst>
            <pc:docMk/>
            <pc:sldMk cId="3561966490" sldId="585"/>
            <ac:spMk id="22"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22:00.792" v="370"/>
        <pc:sldMkLst>
          <pc:docMk/>
          <pc:sldMk cId="3809547791" sldId="586"/>
        </pc:sldMkLst>
        <pc:spChg chg="mod">
          <ac:chgData name="Caldarelli, Leslie" userId="S::lcaldarelli_luriechildrens.org#ext#@nuwildcat.onmicrosoft.com::cd79b54d-c14e-4199-a04a-39c6f592e710" providerId="AD" clId="Web-{3A3E4FEE-6F9B-7EC3-B167-3C31BBE96824}" dt="2023-10-31T16:21:04.915" v="357" actId="14100"/>
          <ac:spMkLst>
            <pc:docMk/>
            <pc:sldMk cId="3809547791" sldId="586"/>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20:34.726" v="349" actId="20577"/>
          <ac:spMkLst>
            <pc:docMk/>
            <pc:sldMk cId="3809547791" sldId="586"/>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5:17.887" v="273" actId="20577"/>
        <pc:sldMkLst>
          <pc:docMk/>
          <pc:sldMk cId="1598854783" sldId="587"/>
        </pc:sldMkLst>
        <pc:spChg chg="mod">
          <ac:chgData name="Caldarelli, Leslie" userId="S::lcaldarelli_luriechildrens.org#ext#@nuwildcat.onmicrosoft.com::cd79b54d-c14e-4199-a04a-39c6f592e710" providerId="AD" clId="Web-{3A3E4FEE-6F9B-7EC3-B167-3C31BBE96824}" dt="2023-10-31T16:15:06.464" v="271" actId="20577"/>
          <ac:spMkLst>
            <pc:docMk/>
            <pc:sldMk cId="1598854783" sldId="587"/>
            <ac:spMk id="37" creationId="{00000000-0000-0000-0000-000000000000}"/>
          </ac:spMkLst>
        </pc:spChg>
        <pc:spChg chg="mod">
          <ac:chgData name="Caldarelli, Leslie" userId="S::lcaldarelli_luriechildrens.org#ext#@nuwildcat.onmicrosoft.com::cd79b54d-c14e-4199-a04a-39c6f592e710" providerId="AD" clId="Web-{3A3E4FEE-6F9B-7EC3-B167-3C31BBE96824}" dt="2023-10-31T16:14:11.994" v="267" actId="20577"/>
          <ac:spMkLst>
            <pc:docMk/>
            <pc:sldMk cId="1598854783" sldId="587"/>
            <ac:spMk id="38" creationId="{00000000-0000-0000-0000-000000000000}"/>
          </ac:spMkLst>
        </pc:spChg>
        <pc:spChg chg="mod">
          <ac:chgData name="Caldarelli, Leslie" userId="S::lcaldarelli_luriechildrens.org#ext#@nuwildcat.onmicrosoft.com::cd79b54d-c14e-4199-a04a-39c6f592e710" providerId="AD" clId="Web-{3A3E4FEE-6F9B-7EC3-B167-3C31BBE96824}" dt="2023-10-31T16:15:17.887" v="273" actId="20577"/>
          <ac:spMkLst>
            <pc:docMk/>
            <pc:sldMk cId="1598854783" sldId="587"/>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13:05.398" v="264" actId="20577"/>
          <ac:spMkLst>
            <pc:docMk/>
            <pc:sldMk cId="1598854783" sldId="587"/>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1:44.067" v="259" actId="20577"/>
        <pc:sldMkLst>
          <pc:docMk/>
          <pc:sldMk cId="3832963388" sldId="588"/>
        </pc:sldMkLst>
        <pc:spChg chg="mod">
          <ac:chgData name="Caldarelli, Leslie" userId="S::lcaldarelli_luriechildrens.org#ext#@nuwildcat.onmicrosoft.com::cd79b54d-c14e-4199-a04a-39c6f592e710" providerId="AD" clId="Web-{3A3E4FEE-6F9B-7EC3-B167-3C31BBE96824}" dt="2023-10-31T16:11:44.067" v="259" actId="20577"/>
          <ac:spMkLst>
            <pc:docMk/>
            <pc:sldMk cId="3832963388" sldId="588"/>
            <ac:spMk id="28"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0:32.517" v="251" actId="20577"/>
        <pc:sldMkLst>
          <pc:docMk/>
          <pc:sldMk cId="435998680" sldId="589"/>
        </pc:sldMkLst>
        <pc:spChg chg="mod">
          <ac:chgData name="Caldarelli, Leslie" userId="S::lcaldarelli_luriechildrens.org#ext#@nuwildcat.onmicrosoft.com::cd79b54d-c14e-4199-a04a-39c6f592e710" providerId="AD" clId="Web-{3A3E4FEE-6F9B-7EC3-B167-3C31BBE96824}" dt="2023-10-31T16:10:32.517" v="251"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3A3E4FEE-6F9B-7EC3-B167-3C31BBE96824}" dt="2023-10-31T16:09:46.297" v="250" actId="20577"/>
          <ac:spMkLst>
            <pc:docMk/>
            <pc:sldMk cId="435998680" sldId="589"/>
            <ac:spMk id="14"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7:59.183" v="247" actId="14100"/>
        <pc:sldMkLst>
          <pc:docMk/>
          <pc:sldMk cId="595546358" sldId="590"/>
        </pc:sldMkLst>
        <pc:spChg chg="mod">
          <ac:chgData name="Caldarelli, Leslie" userId="S::lcaldarelli_luriechildrens.org#ext#@nuwildcat.onmicrosoft.com::cd79b54d-c14e-4199-a04a-39c6f592e710" providerId="AD" clId="Web-{3A3E4FEE-6F9B-7EC3-B167-3C31BBE96824}" dt="2023-10-31T16:07:59.183" v="247" actId="14100"/>
          <ac:spMkLst>
            <pc:docMk/>
            <pc:sldMk cId="595546358" sldId="590"/>
            <ac:spMk id="26" creationId="{00000000-0000-0000-0000-000000000000}"/>
          </ac:spMkLst>
        </pc:spChg>
        <pc:grpChg chg="mod">
          <ac:chgData name="Caldarelli, Leslie" userId="S::lcaldarelli_luriechildrens.org#ext#@nuwildcat.onmicrosoft.com::cd79b54d-c14e-4199-a04a-39c6f592e710" providerId="AD" clId="Web-{3A3E4FEE-6F9B-7EC3-B167-3C31BBE96824}" dt="2023-10-31T16:07:50.371" v="246" actId="1076"/>
          <ac:grpSpMkLst>
            <pc:docMk/>
            <pc:sldMk cId="595546358" sldId="590"/>
            <ac:grpSpMk id="11"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01:40.623" v="217" actId="14100"/>
        <pc:sldMkLst>
          <pc:docMk/>
          <pc:sldMk cId="629433230" sldId="591"/>
        </pc:sldMkLst>
        <pc:spChg chg="mod">
          <ac:chgData name="Caldarelli, Leslie" userId="S::lcaldarelli_luriechildrens.org#ext#@nuwildcat.onmicrosoft.com::cd79b54d-c14e-4199-a04a-39c6f592e710" providerId="AD" clId="Web-{3A3E4FEE-6F9B-7EC3-B167-3C31BBE96824}" dt="2023-10-31T16:01:40.623" v="217" actId="14100"/>
          <ac:spMkLst>
            <pc:docMk/>
            <pc:sldMk cId="629433230" sldId="591"/>
            <ac:spMk id="20"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4:35.082" v="230" actId="20577"/>
        <pc:sldMkLst>
          <pc:docMk/>
          <pc:sldMk cId="1210022179" sldId="617"/>
        </pc:sldMkLst>
        <pc:spChg chg="mod">
          <ac:chgData name="Caldarelli, Leslie" userId="S::lcaldarelli_luriechildrens.org#ext#@nuwildcat.onmicrosoft.com::cd79b54d-c14e-4199-a04a-39c6f592e710" providerId="AD" clId="Web-{3A3E4FEE-6F9B-7EC3-B167-3C31BBE96824}" dt="2023-10-31T16:04:35.082" v="230" actId="20577"/>
          <ac:spMkLst>
            <pc:docMk/>
            <pc:sldMk cId="1210022179" sldId="617"/>
            <ac:spMk id="42" creationId="{E9E3C6CF-96AA-68D8-0977-EC06066DAB15}"/>
          </ac:spMkLst>
        </pc:spChg>
      </pc:sldChg>
      <pc:sldChg chg="modNotes">
        <pc:chgData name="Caldarelli, Leslie" userId="S::lcaldarelli_luriechildrens.org#ext#@nuwildcat.onmicrosoft.com::cd79b54d-c14e-4199-a04a-39c6f592e710" providerId="AD" clId="Web-{3A3E4FEE-6F9B-7EC3-B167-3C31BBE96824}" dt="2023-10-31T15:54:09.997" v="209"/>
        <pc:sldMkLst>
          <pc:docMk/>
          <pc:sldMk cId="3850125703" sldId="622"/>
        </pc:sldMkLst>
      </pc:sldChg>
      <pc:sldChg chg="modSp">
        <pc:chgData name="Caldarelli, Leslie" userId="S::lcaldarelli_luriechildrens.org#ext#@nuwildcat.onmicrosoft.com::cd79b54d-c14e-4199-a04a-39c6f592e710" providerId="AD" clId="Web-{3A3E4FEE-6F9B-7EC3-B167-3C31BBE96824}" dt="2023-10-31T16:04:40.692" v="231" actId="20577"/>
        <pc:sldMkLst>
          <pc:docMk/>
          <pc:sldMk cId="2561278274" sldId="630"/>
        </pc:sldMkLst>
        <pc:spChg chg="mod">
          <ac:chgData name="Caldarelli, Leslie" userId="S::lcaldarelli_luriechildrens.org#ext#@nuwildcat.onmicrosoft.com::cd79b54d-c14e-4199-a04a-39c6f592e710" providerId="AD" clId="Web-{3A3E4FEE-6F9B-7EC3-B167-3C31BBE96824}" dt="2023-10-31T16:04:40.692" v="231" actId="20577"/>
          <ac:spMkLst>
            <pc:docMk/>
            <pc:sldMk cId="2561278274" sldId="630"/>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04:46.880" v="233" actId="20577"/>
        <pc:sldMkLst>
          <pc:docMk/>
          <pc:sldMk cId="488873692" sldId="631"/>
        </pc:sldMkLst>
        <pc:spChg chg="mod">
          <ac:chgData name="Caldarelli, Leslie" userId="S::lcaldarelli_luriechildrens.org#ext#@nuwildcat.onmicrosoft.com::cd79b54d-c14e-4199-a04a-39c6f592e710" providerId="AD" clId="Web-{3A3E4FEE-6F9B-7EC3-B167-3C31BBE96824}" dt="2023-10-31T16:04:46.880" v="233" actId="20577"/>
          <ac:spMkLst>
            <pc:docMk/>
            <pc:sldMk cId="488873692" sldId="631"/>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15:37.372" v="277" actId="20577"/>
        <pc:sldMkLst>
          <pc:docMk/>
          <pc:sldMk cId="3115055849" sldId="632"/>
        </pc:sldMkLst>
        <pc:spChg chg="mod">
          <ac:chgData name="Caldarelli, Leslie" userId="S::lcaldarelli_luriechildrens.org#ext#@nuwildcat.onmicrosoft.com::cd79b54d-c14e-4199-a04a-39c6f592e710" providerId="AD" clId="Web-{3A3E4FEE-6F9B-7EC3-B167-3C31BBE96824}" dt="2023-10-31T16:15:37.372" v="277" actId="20577"/>
          <ac:spMkLst>
            <pc:docMk/>
            <pc:sldMk cId="3115055849" sldId="632"/>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22:31.574" v="374" actId="20577"/>
        <pc:sldMkLst>
          <pc:docMk/>
          <pc:sldMk cId="3999708931" sldId="633"/>
        </pc:sldMkLst>
        <pc:spChg chg="mod">
          <ac:chgData name="Caldarelli, Leslie" userId="S::lcaldarelli_luriechildrens.org#ext#@nuwildcat.onmicrosoft.com::cd79b54d-c14e-4199-a04a-39c6f592e710" providerId="AD" clId="Web-{3A3E4FEE-6F9B-7EC3-B167-3C31BBE96824}" dt="2023-10-31T16:22:31.574" v="374" actId="20577"/>
          <ac:spMkLst>
            <pc:docMk/>
            <pc:sldMk cId="3999708931" sldId="633"/>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5:33:52.641" v="54" actId="20577"/>
        <pc:sldMkLst>
          <pc:docMk/>
          <pc:sldMk cId="1271905251" sldId="637"/>
        </pc:sldMkLst>
        <pc:spChg chg="mod">
          <ac:chgData name="Caldarelli, Leslie" userId="S::lcaldarelli_luriechildrens.org#ext#@nuwildcat.onmicrosoft.com::cd79b54d-c14e-4199-a04a-39c6f592e710" providerId="AD" clId="Web-{3A3E4FEE-6F9B-7EC3-B167-3C31BBE96824}" dt="2023-10-31T15:33:52.641" v="54" actId="20577"/>
          <ac:spMkLst>
            <pc:docMk/>
            <pc:sldMk cId="1271905251" sldId="637"/>
            <ac:spMk id="3" creationId="{38BD8A99-C590-643F-CF50-2EEC68347C9C}"/>
          </ac:spMkLst>
        </pc:spChg>
      </pc:sldChg>
      <pc:sldChg chg="addSp delSp modSp mod setBg addAnim setClrOvrMap modNotes">
        <pc:chgData name="Caldarelli, Leslie" userId="S::lcaldarelli_luriechildrens.org#ext#@nuwildcat.onmicrosoft.com::cd79b54d-c14e-4199-a04a-39c6f592e710" providerId="AD" clId="Web-{3A3E4FEE-6F9B-7EC3-B167-3C31BBE96824}" dt="2023-10-31T16:46:24.002" v="562"/>
        <pc:sldMkLst>
          <pc:docMk/>
          <pc:sldMk cId="3557549611" sldId="639"/>
        </pc:sldMkLst>
        <pc:spChg chg="mod">
          <ac:chgData name="Caldarelli, Leslie" userId="S::lcaldarelli_luriechildrens.org#ext#@nuwildcat.onmicrosoft.com::cd79b54d-c14e-4199-a04a-39c6f592e710" providerId="AD" clId="Web-{3A3E4FEE-6F9B-7EC3-B167-3C31BBE96824}" dt="2023-10-31T16:45:57.547" v="552" actId="20577"/>
          <ac:spMkLst>
            <pc:docMk/>
            <pc:sldMk cId="3557549611" sldId="639"/>
            <ac:spMk id="2" creationId="{0BE17DCB-A8F8-6312-7CC0-B9B84CE03C29}"/>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4" creationId="{06276F4D-91A4-D091-2EFE-9A1748660AE2}"/>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5" creationId="{475B4B8E-2C04-6E84-AEFA-610CF3D9D135}"/>
          </ac:spMkLst>
        </pc:spChg>
        <pc:spChg chg="del">
          <ac:chgData name="Caldarelli, Leslie" userId="S::lcaldarelli_luriechildrens.org#ext#@nuwildcat.onmicrosoft.com::cd79b54d-c14e-4199-a04a-39c6f592e710" providerId="AD" clId="Web-{3A3E4FEE-6F9B-7EC3-B167-3C31BBE96824}" dt="2023-10-31T16:44:54.342" v="540"/>
          <ac:spMkLst>
            <pc:docMk/>
            <pc:sldMk cId="3557549611" sldId="639"/>
            <ac:spMk id="11" creationId="{71B2258F-86CA-4D4D-8270-BC05FCDEBFB3}"/>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6" creationId="{27BDFED6-6E33-4606-AFE2-886ADB1C018E}"/>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8" creationId="{890DEF05-784E-4B61-89E4-04C4ECF4E5A0}"/>
          </ac:spMkLst>
        </pc:spChg>
        <pc:spChg chg="add del">
          <ac:chgData name="Caldarelli, Leslie" userId="S::lcaldarelli_luriechildrens.org#ext#@nuwildcat.onmicrosoft.com::cd79b54d-c14e-4199-a04a-39c6f592e710" providerId="AD" clId="Web-{3A3E4FEE-6F9B-7EC3-B167-3C31BBE96824}" dt="2023-10-31T16:45:07.967" v="544"/>
          <ac:spMkLst>
            <pc:docMk/>
            <pc:sldMk cId="3557549611" sldId="639"/>
            <ac:spMk id="25" creationId="{37C89E4B-3C9F-44B9-8B86-D9E3D112D8EC}"/>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1" creationId="{08C9B587-E65E-4B52-B37C-ABEBB6E87928}"/>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2" creationId="{0671A8AE-40A1-4631-A6B8-581AFF065482}"/>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3" creationId="{AB58EF07-17C2-48CF-ABB0-EEF1F17CB8F0}"/>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4" creationId="{AF2F604E-43BE-4DC3-B983-E071523364F8}"/>
          </ac:spMkLst>
        </pc:spChg>
        <pc:spChg chg="add">
          <ac:chgData name="Caldarelli, Leslie" userId="S::lcaldarelli_luriechildrens.org#ext#@nuwildcat.onmicrosoft.com::cd79b54d-c14e-4199-a04a-39c6f592e710" providerId="AD" clId="Web-{3A3E4FEE-6F9B-7EC3-B167-3C31BBE96824}" dt="2023-10-31T16:45:23.561" v="547"/>
          <ac:spMkLst>
            <pc:docMk/>
            <pc:sldMk cId="3557549611" sldId="639"/>
            <ac:spMk id="36" creationId="{71B2258F-86CA-4D4D-8270-BC05FCDEBFB3}"/>
          </ac:spMkLst>
        </pc:spChg>
        <pc:picChg chg="add mod ord">
          <ac:chgData name="Caldarelli, Leslie" userId="S::lcaldarelli_luriechildrens.org#ext#@nuwildcat.onmicrosoft.com::cd79b54d-c14e-4199-a04a-39c6f592e710" providerId="AD" clId="Web-{3A3E4FEE-6F9B-7EC3-B167-3C31BBE96824}" dt="2023-10-31T16:45:23.561" v="547"/>
          <ac:picMkLst>
            <pc:docMk/>
            <pc:sldMk cId="3557549611" sldId="639"/>
            <ac:picMk id="3" creationId="{DAFBE606-7FC7-49C4-35AD-E7F8C66460CB}"/>
          </ac:picMkLst>
        </pc:picChg>
        <pc:picChg chg="del mod">
          <ac:chgData name="Caldarelli, Leslie" userId="S::lcaldarelli_luriechildrens.org#ext#@nuwildcat.onmicrosoft.com::cd79b54d-c14e-4199-a04a-39c6f592e710" providerId="AD" clId="Web-{3A3E4FEE-6F9B-7EC3-B167-3C31BBE96824}" dt="2023-10-31T16:44:58.154" v="542"/>
          <ac:picMkLst>
            <pc:docMk/>
            <pc:sldMk cId="3557549611" sldId="639"/>
            <ac:picMk id="7" creationId="{6B05B810-C788-B059-81CD-37A75C30A63A}"/>
          </ac:picMkLst>
        </pc:picChg>
        <pc:cxnChg chg="add del">
          <ac:chgData name="Caldarelli, Leslie" userId="S::lcaldarelli_luriechildrens.org#ext#@nuwildcat.onmicrosoft.com::cd79b54d-c14e-4199-a04a-39c6f592e710" providerId="AD" clId="Web-{3A3E4FEE-6F9B-7EC3-B167-3C31BBE96824}" dt="2023-10-31T16:45:23.561" v="547"/>
          <ac:cxnSpMkLst>
            <pc:docMk/>
            <pc:sldMk cId="3557549611" sldId="639"/>
            <ac:cxnSpMk id="20" creationId="{C41BAEC7-F7B0-4224-8B18-8F74B7D87F0B}"/>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7" creationId="{AA2EAA10-076F-46BD-8F0F-B9A2FB77A85C}"/>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9" creationId="{D891E407-403B-4764-86C9-33A56D3BCAA3}"/>
          </ac:cxnSpMkLst>
        </pc:cxnChg>
      </pc:sldChg>
      <pc:sldChg chg="addSp modSp modNotes">
        <pc:chgData name="Caldarelli, Leslie" userId="S::lcaldarelli_luriechildrens.org#ext#@nuwildcat.onmicrosoft.com::cd79b54d-c14e-4199-a04a-39c6f592e710" providerId="AD" clId="Web-{3A3E4FEE-6F9B-7EC3-B167-3C31BBE96824}" dt="2023-10-31T15:52:03.118" v="208"/>
        <pc:sldMkLst>
          <pc:docMk/>
          <pc:sldMk cId="113281680" sldId="642"/>
        </pc:sldMkLst>
        <pc:spChg chg="mod">
          <ac:chgData name="Caldarelli, Leslie" userId="S::lcaldarelli_luriechildrens.org#ext#@nuwildcat.onmicrosoft.com::cd79b54d-c14e-4199-a04a-39c6f592e710" providerId="AD" clId="Web-{3A3E4FEE-6F9B-7EC3-B167-3C31BBE96824}" dt="2023-10-31T15:50:18.864" v="194" actId="1076"/>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3A3E4FEE-6F9B-7EC3-B167-3C31BBE96824}" dt="2023-10-31T15:51:17.319" v="207" actId="20577"/>
          <ac:spMkLst>
            <pc:docMk/>
            <pc:sldMk cId="113281680" sldId="642"/>
            <ac:spMk id="3" creationId="{9038DB7D-70BC-F3BC-5E8D-8CFC7F509BED}"/>
          </ac:spMkLst>
        </pc:spChg>
        <pc:spChg chg="add mod">
          <ac:chgData name="Caldarelli, Leslie" userId="S::lcaldarelli_luriechildrens.org#ext#@nuwildcat.onmicrosoft.com::cd79b54d-c14e-4199-a04a-39c6f592e710" providerId="AD" clId="Web-{3A3E4FEE-6F9B-7EC3-B167-3C31BBE96824}" dt="2023-10-31T15:50:04.085" v="191" actId="1076"/>
          <ac:spMkLst>
            <pc:docMk/>
            <pc:sldMk cId="113281680" sldId="642"/>
            <ac:spMk id="6" creationId="{EB7BD3D8-0E72-993A-2F4C-9CE922B7CC0B}"/>
          </ac:spMkLst>
        </pc:spChg>
        <pc:spChg chg="add mod">
          <ac:chgData name="Caldarelli, Leslie" userId="S::lcaldarelli_luriechildrens.org#ext#@nuwildcat.onmicrosoft.com::cd79b54d-c14e-4199-a04a-39c6f592e710" providerId="AD" clId="Web-{3A3E4FEE-6F9B-7EC3-B167-3C31BBE96824}" dt="2023-10-31T15:50:08.410" v="192" actId="1076"/>
          <ac:spMkLst>
            <pc:docMk/>
            <pc:sldMk cId="113281680" sldId="642"/>
            <ac:spMk id="8" creationId="{9CAE83B1-576A-4BD3-4D30-DC90CF84A4CA}"/>
          </ac:spMkLst>
        </pc:spChg>
      </pc:sldChg>
      <pc:sldChg chg="modSp">
        <pc:chgData name="Caldarelli, Leslie" userId="S::lcaldarelli_luriechildrens.org#ext#@nuwildcat.onmicrosoft.com::cd79b54d-c14e-4199-a04a-39c6f592e710" providerId="AD" clId="Web-{3A3E4FEE-6F9B-7EC3-B167-3C31BBE96824}" dt="2023-10-31T16:37:26.732" v="495" actId="1076"/>
        <pc:sldMkLst>
          <pc:docMk/>
          <pc:sldMk cId="2443892533" sldId="643"/>
        </pc:sldMkLst>
        <pc:spChg chg="mod">
          <ac:chgData name="Caldarelli, Leslie" userId="S::lcaldarelli_luriechildrens.org#ext#@nuwildcat.onmicrosoft.com::cd79b54d-c14e-4199-a04a-39c6f592e710" providerId="AD" clId="Web-{3A3E4FEE-6F9B-7EC3-B167-3C31BBE96824}" dt="2023-10-31T16:37:07.794" v="491"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3A3E4FEE-6F9B-7EC3-B167-3C31BBE96824}" dt="2023-10-31T16:37:24.153" v="494" actId="20577"/>
          <ac:spMkLst>
            <pc:docMk/>
            <pc:sldMk cId="2443892533" sldId="643"/>
            <ac:spMk id="3" creationId="{E7ECD19B-85BC-6652-2856-676802964CFA}"/>
          </ac:spMkLst>
        </pc:spChg>
        <pc:picChg chg="mod">
          <ac:chgData name="Caldarelli, Leslie" userId="S::lcaldarelli_luriechildrens.org#ext#@nuwildcat.onmicrosoft.com::cd79b54d-c14e-4199-a04a-39c6f592e710" providerId="AD" clId="Web-{3A3E4FEE-6F9B-7EC3-B167-3C31BBE96824}" dt="2023-10-31T16:37:26.732" v="495" actId="1076"/>
          <ac:picMkLst>
            <pc:docMk/>
            <pc:sldMk cId="2443892533" sldId="643"/>
            <ac:picMk id="7" creationId="{8561AC10-C045-61C5-C572-29E58C8EEF9B}"/>
          </ac:picMkLst>
        </pc:picChg>
      </pc:sldChg>
      <pc:sldChg chg="modSp modNotes">
        <pc:chgData name="Caldarelli, Leslie" userId="S::lcaldarelli_luriechildrens.org#ext#@nuwildcat.onmicrosoft.com::cd79b54d-c14e-4199-a04a-39c6f592e710" providerId="AD" clId="Web-{3A3E4FEE-6F9B-7EC3-B167-3C31BBE96824}" dt="2023-10-31T16:42:54.264" v="528" actId="20577"/>
        <pc:sldMkLst>
          <pc:docMk/>
          <pc:sldMk cId="226321953" sldId="646"/>
        </pc:sldMkLst>
        <pc:spChg chg="mod">
          <ac:chgData name="Caldarelli, Leslie" userId="S::lcaldarelli_luriechildrens.org#ext#@nuwildcat.onmicrosoft.com::cd79b54d-c14e-4199-a04a-39c6f592e710" providerId="AD" clId="Web-{3A3E4FEE-6F9B-7EC3-B167-3C31BBE96824}" dt="2023-10-31T16:42:54.264" v="528" actId="20577"/>
          <ac:spMkLst>
            <pc:docMk/>
            <pc:sldMk cId="226321953" sldId="646"/>
            <ac:spMk id="2" creationId="{966FAC69-62AA-D40E-C4BD-DAD5BF599C69}"/>
          </ac:spMkLst>
        </pc:spChg>
      </pc:sldChg>
      <pc:sldChg chg="modSp modNotes">
        <pc:chgData name="Caldarelli, Leslie" userId="S::lcaldarelli_luriechildrens.org#ext#@nuwildcat.onmicrosoft.com::cd79b54d-c14e-4199-a04a-39c6f592e710" providerId="AD" clId="Web-{3A3E4FEE-6F9B-7EC3-B167-3C31BBE96824}" dt="2023-10-31T16:41:12.349" v="526"/>
        <pc:sldMkLst>
          <pc:docMk/>
          <pc:sldMk cId="1661337475" sldId="647"/>
        </pc:sldMkLst>
        <pc:spChg chg="mod">
          <ac:chgData name="Caldarelli, Leslie" userId="S::lcaldarelli_luriechildrens.org#ext#@nuwildcat.onmicrosoft.com::cd79b54d-c14e-4199-a04a-39c6f592e710" providerId="AD" clId="Web-{3A3E4FEE-6F9B-7EC3-B167-3C31BBE96824}" dt="2023-10-31T16:39:46.581" v="502" actId="1076"/>
          <ac:spMkLst>
            <pc:docMk/>
            <pc:sldMk cId="1661337475" sldId="647"/>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36.252" v="500" actId="1076"/>
          <ac:spMkLst>
            <pc:docMk/>
            <pc:sldMk cId="1661337475" sldId="647"/>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39:31.674" v="499" actId="1076"/>
          <ac:spMkLst>
            <pc:docMk/>
            <pc:sldMk cId="1661337475" sldId="647"/>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9:41.799" v="501" actId="1076"/>
          <ac:grpSpMkLst>
            <pc:docMk/>
            <pc:sldMk cId="1661337475" sldId="647"/>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39:52.753" v="503" actId="1076"/>
        <pc:sldMkLst>
          <pc:docMk/>
          <pc:sldMk cId="641611787" sldId="648"/>
        </pc:sldMkLst>
        <pc:spChg chg="mod">
          <ac:chgData name="Caldarelli, Leslie" userId="S::lcaldarelli_luriechildrens.org#ext#@nuwildcat.onmicrosoft.com::cd79b54d-c14e-4199-a04a-39c6f592e710" providerId="AD" clId="Web-{3A3E4FEE-6F9B-7EC3-B167-3C31BBE96824}" dt="2023-10-31T16:39:52.753" v="503" actId="1076"/>
          <ac:spMkLst>
            <pc:docMk/>
            <pc:sldMk cId="641611787" sldId="648"/>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19.611" v="497" actId="1076"/>
          <ac:spMkLst>
            <pc:docMk/>
            <pc:sldMk cId="641611787" sldId="648"/>
            <ac:spMk id="53" creationId="{00000000-0000-0000-0000-000000000000}"/>
          </ac:spMkLst>
        </pc:spChg>
      </pc:sldChg>
    </pc:docChg>
  </pc:docChgLst>
  <pc:docChgLst>
    <pc:chgData name="Alana Rivera" userId="S::arg3669@ads.northwestern.edu::fc8b707a-b7e9-4f2a-8d71-2d76819b7881" providerId="AD" clId="Web-{F9F8F9CD-504E-7117-C6BD-BB41440E79C4}"/>
    <pc:docChg chg="delSld modSld">
      <pc:chgData name="Alana Rivera" userId="S::arg3669@ads.northwestern.edu::fc8b707a-b7e9-4f2a-8d71-2d76819b7881" providerId="AD" clId="Web-{F9F8F9CD-504E-7117-C6BD-BB41440E79C4}" dt="2023-12-27T21:54:44.056" v="63"/>
      <pc:docMkLst>
        <pc:docMk/>
      </pc:docMkLst>
      <pc:sldChg chg="modSp">
        <pc:chgData name="Alana Rivera" userId="S::arg3669@ads.northwestern.edu::fc8b707a-b7e9-4f2a-8d71-2d76819b7881" providerId="AD" clId="Web-{F9F8F9CD-504E-7117-C6BD-BB41440E79C4}" dt="2023-12-27T21:35:32.902" v="10"/>
        <pc:sldMkLst>
          <pc:docMk/>
          <pc:sldMk cId="3127921386" sldId="280"/>
        </pc:sldMkLst>
        <pc:spChg chg="mod">
          <ac:chgData name="Alana Rivera" userId="S::arg3669@ads.northwestern.edu::fc8b707a-b7e9-4f2a-8d71-2d76819b7881" providerId="AD" clId="Web-{F9F8F9CD-504E-7117-C6BD-BB41440E79C4}" dt="2023-12-27T21:34:41.979" v="5" actId="20577"/>
          <ac:spMkLst>
            <pc:docMk/>
            <pc:sldMk cId="3127921386" sldId="280"/>
            <ac:spMk id="3" creationId="{1D742501-F937-8041-84E5-748F96AE991B}"/>
          </ac:spMkLst>
        </pc:spChg>
        <pc:spChg chg="mod">
          <ac:chgData name="Alana Rivera" userId="S::arg3669@ads.northwestern.edu::fc8b707a-b7e9-4f2a-8d71-2d76819b7881" providerId="AD" clId="Web-{F9F8F9CD-504E-7117-C6BD-BB41440E79C4}" dt="2023-12-27T21:35:12.636" v="9" actId="20577"/>
          <ac:spMkLst>
            <pc:docMk/>
            <pc:sldMk cId="3127921386" sldId="280"/>
            <ac:spMk id="9" creationId="{7F20A429-9947-F447-2DF2-A5C17B5C6EC1}"/>
          </ac:spMkLst>
        </pc:spChg>
        <pc:picChg chg="mod">
          <ac:chgData name="Alana Rivera" userId="S::arg3669@ads.northwestern.edu::fc8b707a-b7e9-4f2a-8d71-2d76819b7881" providerId="AD" clId="Web-{F9F8F9CD-504E-7117-C6BD-BB41440E79C4}" dt="2023-12-27T21:35:32.902" v="10"/>
          <ac:picMkLst>
            <pc:docMk/>
            <pc:sldMk cId="3127921386" sldId="280"/>
            <ac:picMk id="2" creationId="{0D7C69D0-240C-8322-D521-66F461EE341B}"/>
          </ac:picMkLst>
        </pc:picChg>
      </pc:sldChg>
      <pc:sldChg chg="modSp">
        <pc:chgData name="Alana Rivera" userId="S::arg3669@ads.northwestern.edu::fc8b707a-b7e9-4f2a-8d71-2d76819b7881" providerId="AD" clId="Web-{F9F8F9CD-504E-7117-C6BD-BB41440E79C4}" dt="2023-12-27T21:51:41.833" v="47" actId="20577"/>
        <pc:sldMkLst>
          <pc:docMk/>
          <pc:sldMk cId="4044691067" sldId="283"/>
        </pc:sldMkLst>
        <pc:spChg chg="mod">
          <ac:chgData name="Alana Rivera" userId="S::arg3669@ads.northwestern.edu::fc8b707a-b7e9-4f2a-8d71-2d76819b7881" providerId="AD" clId="Web-{F9F8F9CD-504E-7117-C6BD-BB41440E79C4}" dt="2023-12-27T21:41:15.552" v="13" actId="20577"/>
          <ac:spMkLst>
            <pc:docMk/>
            <pc:sldMk cId="4044691067" sldId="283"/>
            <ac:spMk id="16386" creationId="{00000000-0000-0000-0000-000000000000}"/>
          </ac:spMkLst>
        </pc:spChg>
        <pc:spChg chg="mod">
          <ac:chgData name="Alana Rivera" userId="S::arg3669@ads.northwestern.edu::fc8b707a-b7e9-4f2a-8d71-2d76819b7881" providerId="AD" clId="Web-{F9F8F9CD-504E-7117-C6BD-BB41440E79C4}" dt="2023-12-27T21:51:41.833" v="47" actId="20577"/>
          <ac:spMkLst>
            <pc:docMk/>
            <pc:sldMk cId="4044691067" sldId="283"/>
            <ac:spMk id="16387" creationId="{00000000-0000-0000-0000-000000000000}"/>
          </ac:spMkLst>
        </pc:spChg>
      </pc:sldChg>
      <pc:sldChg chg="del">
        <pc:chgData name="Alana Rivera" userId="S::arg3669@ads.northwestern.edu::fc8b707a-b7e9-4f2a-8d71-2d76819b7881" providerId="AD" clId="Web-{F9F8F9CD-504E-7117-C6BD-BB41440E79C4}" dt="2023-12-27T21:53:29.679" v="56"/>
        <pc:sldMkLst>
          <pc:docMk/>
          <pc:sldMk cId="3080095507" sldId="703"/>
        </pc:sldMkLst>
      </pc:sldChg>
      <pc:sldChg chg="del">
        <pc:chgData name="Alana Rivera" userId="S::arg3669@ads.northwestern.edu::fc8b707a-b7e9-4f2a-8d71-2d76819b7881" providerId="AD" clId="Web-{F9F8F9CD-504E-7117-C6BD-BB41440E79C4}" dt="2023-12-27T21:54:06.227" v="60"/>
        <pc:sldMkLst>
          <pc:docMk/>
          <pc:sldMk cId="1789754515" sldId="708"/>
        </pc:sldMkLst>
      </pc:sldChg>
      <pc:sldChg chg="del">
        <pc:chgData name="Alana Rivera" userId="S::arg3669@ads.northwestern.edu::fc8b707a-b7e9-4f2a-8d71-2d76819b7881" providerId="AD" clId="Web-{F9F8F9CD-504E-7117-C6BD-BB41440E79C4}" dt="2023-12-27T21:53:56.399" v="59"/>
        <pc:sldMkLst>
          <pc:docMk/>
          <pc:sldMk cId="768417776" sldId="709"/>
        </pc:sldMkLst>
      </pc:sldChg>
      <pc:sldChg chg="del">
        <pc:chgData name="Alana Rivera" userId="S::arg3669@ads.northwestern.edu::fc8b707a-b7e9-4f2a-8d71-2d76819b7881" providerId="AD" clId="Web-{F9F8F9CD-504E-7117-C6BD-BB41440E79C4}" dt="2023-12-27T21:53:53.414" v="58"/>
        <pc:sldMkLst>
          <pc:docMk/>
          <pc:sldMk cId="3734042619" sldId="710"/>
        </pc:sldMkLst>
      </pc:sldChg>
      <pc:sldChg chg="del">
        <pc:chgData name="Alana Rivera" userId="S::arg3669@ads.northwestern.edu::fc8b707a-b7e9-4f2a-8d71-2d76819b7881" providerId="AD" clId="Web-{F9F8F9CD-504E-7117-C6BD-BB41440E79C4}" dt="2023-12-27T21:53:42.961" v="57"/>
        <pc:sldMkLst>
          <pc:docMk/>
          <pc:sldMk cId="3859034132" sldId="711"/>
        </pc:sldMkLst>
      </pc:sldChg>
      <pc:sldChg chg="modSp">
        <pc:chgData name="Alana Rivera" userId="S::arg3669@ads.northwestern.edu::fc8b707a-b7e9-4f2a-8d71-2d76819b7881" providerId="AD" clId="Web-{F9F8F9CD-504E-7117-C6BD-BB41440E79C4}" dt="2023-12-27T21:52:45.709" v="53" actId="1076"/>
        <pc:sldMkLst>
          <pc:docMk/>
          <pc:sldMk cId="3139874353" sldId="712"/>
        </pc:sldMkLst>
        <pc:spChg chg="mod">
          <ac:chgData name="Alana Rivera" userId="S::arg3669@ads.northwestern.edu::fc8b707a-b7e9-4f2a-8d71-2d76819b7881" providerId="AD" clId="Web-{F9F8F9CD-504E-7117-C6BD-BB41440E79C4}" dt="2023-12-27T21:52:45.709" v="53" actId="1076"/>
          <ac:spMkLst>
            <pc:docMk/>
            <pc:sldMk cId="3139874353" sldId="712"/>
            <ac:spMk id="2" creationId="{39AAB3FF-760A-B654-5F1B-78AD5BEB6B57}"/>
          </ac:spMkLst>
        </pc:spChg>
        <pc:spChg chg="mod">
          <ac:chgData name="Alana Rivera" userId="S::arg3669@ads.northwestern.edu::fc8b707a-b7e9-4f2a-8d71-2d76819b7881" providerId="AD" clId="Web-{F9F8F9CD-504E-7117-C6BD-BB41440E79C4}" dt="2023-12-27T21:52:28.131" v="52" actId="20577"/>
          <ac:spMkLst>
            <pc:docMk/>
            <pc:sldMk cId="3139874353" sldId="712"/>
            <ac:spMk id="3" creationId="{BFE56240-A306-0E11-425A-7323821A42F2}"/>
          </ac:spMkLst>
        </pc:spChg>
      </pc:sldChg>
      <pc:sldChg chg="addSp delSp modSp">
        <pc:chgData name="Alana Rivera" userId="S::arg3669@ads.northwestern.edu::fc8b707a-b7e9-4f2a-8d71-2d76819b7881" providerId="AD" clId="Web-{F9F8F9CD-504E-7117-C6BD-BB41440E79C4}" dt="2023-12-27T21:54:44.056" v="63"/>
        <pc:sldMkLst>
          <pc:docMk/>
          <pc:sldMk cId="4179369718" sldId="713"/>
        </pc:sldMkLst>
        <pc:spChg chg="mod">
          <ac:chgData name="Alana Rivera" userId="S::arg3669@ads.northwestern.edu::fc8b707a-b7e9-4f2a-8d71-2d76819b7881" providerId="AD" clId="Web-{F9F8F9CD-504E-7117-C6BD-BB41440E79C4}" dt="2023-12-27T21:54:20.477" v="61" actId="20577"/>
          <ac:spMkLst>
            <pc:docMk/>
            <pc:sldMk cId="4179369718" sldId="713"/>
            <ac:spMk id="2" creationId="{00000000-0000-0000-0000-000000000000}"/>
          </ac:spMkLst>
        </pc:spChg>
        <pc:spChg chg="add del">
          <ac:chgData name="Alana Rivera" userId="S::arg3669@ads.northwestern.edu::fc8b707a-b7e9-4f2a-8d71-2d76819b7881" providerId="AD" clId="Web-{F9F8F9CD-504E-7117-C6BD-BB41440E79C4}" dt="2023-12-27T21:54:44.056" v="63"/>
          <ac:spMkLst>
            <pc:docMk/>
            <pc:sldMk cId="4179369718" sldId="713"/>
            <ac:spMk id="11" creationId="{00000000-0000-0000-0000-000000000000}"/>
          </ac:spMkLst>
        </pc:spChg>
      </pc:sldChg>
      <pc:sldChg chg="del">
        <pc:chgData name="Alana Rivera" userId="S::arg3669@ads.northwestern.edu::fc8b707a-b7e9-4f2a-8d71-2d76819b7881" providerId="AD" clId="Web-{F9F8F9CD-504E-7117-C6BD-BB41440E79C4}" dt="2023-12-27T21:53:26.226" v="55"/>
        <pc:sldMkLst>
          <pc:docMk/>
          <pc:sldMk cId="4091814342" sldId="715"/>
        </pc:sldMkLst>
      </pc:sldChg>
      <pc:sldChg chg="del">
        <pc:chgData name="Alana Rivera" userId="S::arg3669@ads.northwestern.edu::fc8b707a-b7e9-4f2a-8d71-2d76819b7881" providerId="AD" clId="Web-{F9F8F9CD-504E-7117-C6BD-BB41440E79C4}" dt="2023-12-27T21:53:11.460" v="54"/>
        <pc:sldMkLst>
          <pc:docMk/>
          <pc:sldMk cId="3241722567" sldId="740"/>
        </pc:sldMkLst>
      </pc:sldChg>
    </pc:docChg>
  </pc:docChgLst>
  <pc:docChgLst>
    <pc:chgData name="Eileen Fleming Suse" userId="S::efs3844@ads.northwestern.edu::725c94ef-d051-42d7-9d33-8572765d592b" providerId="AD" clId="Web-{2D3E1CBF-0F08-92B9-6543-9FE5E77E56E9}"/>
    <pc:docChg chg="addSld delSld modSld">
      <pc:chgData name="Eileen Fleming Suse" userId="S::efs3844@ads.northwestern.edu::725c94ef-d051-42d7-9d33-8572765d592b" providerId="AD" clId="Web-{2D3E1CBF-0F08-92B9-6543-9FE5E77E56E9}" dt="2023-10-28T14:57:28.029" v="305"/>
      <pc:docMkLst>
        <pc:docMk/>
      </pc:docMkLst>
      <pc:sldChg chg="modSp">
        <pc:chgData name="Eileen Fleming Suse" userId="S::efs3844@ads.northwestern.edu::725c94ef-d051-42d7-9d33-8572765d592b" providerId="AD" clId="Web-{2D3E1CBF-0F08-92B9-6543-9FE5E77E56E9}" dt="2023-10-28T14:54:32.961" v="268" actId="20577"/>
        <pc:sldMkLst>
          <pc:docMk/>
          <pc:sldMk cId="2086939794" sldId="326"/>
        </pc:sldMkLst>
        <pc:spChg chg="mod">
          <ac:chgData name="Eileen Fleming Suse" userId="S::efs3844@ads.northwestern.edu::725c94ef-d051-42d7-9d33-8572765d592b" providerId="AD" clId="Web-{2D3E1CBF-0F08-92B9-6543-9FE5E77E56E9}" dt="2023-10-28T14:54:32.961" v="268" actId="20577"/>
          <ac:spMkLst>
            <pc:docMk/>
            <pc:sldMk cId="2086939794" sldId="326"/>
            <ac:spMk id="3" creationId="{1E0FB995-5DD8-5081-A69E-96B5869B0012}"/>
          </ac:spMkLst>
        </pc:spChg>
      </pc:sldChg>
      <pc:sldChg chg="modSp">
        <pc:chgData name="Eileen Fleming Suse" userId="S::efs3844@ads.northwestern.edu::725c94ef-d051-42d7-9d33-8572765d592b" providerId="AD" clId="Web-{2D3E1CBF-0F08-92B9-6543-9FE5E77E56E9}" dt="2023-10-28T14:57:28.029" v="305"/>
        <pc:sldMkLst>
          <pc:docMk/>
          <pc:sldMk cId="3067427377" sldId="560"/>
        </pc:sldMkLst>
        <pc:spChg chg="mod">
          <ac:chgData name="Eileen Fleming Suse" userId="S::efs3844@ads.northwestern.edu::725c94ef-d051-42d7-9d33-8572765d592b" providerId="AD" clId="Web-{2D3E1CBF-0F08-92B9-6543-9FE5E77E56E9}" dt="2023-10-28T14:57:28.029" v="305"/>
          <ac:spMkLst>
            <pc:docMk/>
            <pc:sldMk cId="3067427377" sldId="560"/>
            <ac:spMk id="2" creationId="{85302686-DF06-3304-66CB-1E21F4D086DC}"/>
          </ac:spMkLst>
        </pc:spChg>
      </pc:sldChg>
      <pc:sldChg chg="addSp modSp">
        <pc:chgData name="Eileen Fleming Suse" userId="S::efs3844@ads.northwestern.edu::725c94ef-d051-42d7-9d33-8572765d592b" providerId="AD" clId="Web-{2D3E1CBF-0F08-92B9-6543-9FE5E77E56E9}" dt="2023-10-28T14:57:16.622" v="304" actId="1076"/>
        <pc:sldMkLst>
          <pc:docMk/>
          <pc:sldMk cId="1141815353" sldId="562"/>
        </pc:sldMkLst>
        <pc:spChg chg="add mod">
          <ac:chgData name="Eileen Fleming Suse" userId="S::efs3844@ads.northwestern.edu::725c94ef-d051-42d7-9d33-8572765d592b" providerId="AD" clId="Web-{2D3E1CBF-0F08-92B9-6543-9FE5E77E56E9}" dt="2023-10-28T14:57:16.622" v="304" actId="1076"/>
          <ac:spMkLst>
            <pc:docMk/>
            <pc:sldMk cId="1141815353" sldId="562"/>
            <ac:spMk id="13" creationId="{2FC08365-C48A-7DB8-BBA6-D9EB552FFD55}"/>
          </ac:spMkLst>
        </pc:spChg>
        <pc:spChg chg="mod">
          <ac:chgData name="Eileen Fleming Suse" userId="S::efs3844@ads.northwestern.edu::725c94ef-d051-42d7-9d33-8572765d592b" providerId="AD" clId="Web-{2D3E1CBF-0F08-92B9-6543-9FE5E77E56E9}" dt="2023-10-28T14:57:12.528" v="302" actId="1076"/>
          <ac:spMkLst>
            <pc:docMk/>
            <pc:sldMk cId="1141815353" sldId="562"/>
            <ac:spMk id="360" creationId="{FE59A3A2-BFF2-9772-51D6-9CCB620AEB53}"/>
          </ac:spMkLst>
        </pc:spChg>
      </pc:sldChg>
      <pc:sldChg chg="addSp modSp">
        <pc:chgData name="Eileen Fleming Suse" userId="S::efs3844@ads.northwestern.edu::725c94ef-d051-42d7-9d33-8572765d592b" providerId="AD" clId="Web-{2D3E1CBF-0F08-92B9-6543-9FE5E77E56E9}" dt="2023-10-28T00:19:08.918" v="72" actId="20577"/>
        <pc:sldMkLst>
          <pc:docMk/>
          <pc:sldMk cId="1937423064" sldId="606"/>
        </pc:sldMkLst>
        <pc:spChg chg="add mod">
          <ac:chgData name="Eileen Fleming Suse" userId="S::efs3844@ads.northwestern.edu::725c94ef-d051-42d7-9d33-8572765d592b" providerId="AD" clId="Web-{2D3E1CBF-0F08-92B9-6543-9FE5E77E56E9}" dt="2023-10-28T00:19:08.918" v="72" actId="20577"/>
          <ac:spMkLst>
            <pc:docMk/>
            <pc:sldMk cId="1937423064" sldId="606"/>
            <ac:spMk id="3" creationId="{CF76BAF3-0D68-BE52-7B63-AF42CBFD04CB}"/>
          </ac:spMkLst>
        </pc:spChg>
        <pc:spChg chg="mod">
          <ac:chgData name="Eileen Fleming Suse" userId="S::efs3844@ads.northwestern.edu::725c94ef-d051-42d7-9d33-8572765d592b" providerId="AD" clId="Web-{2D3E1CBF-0F08-92B9-6543-9FE5E77E56E9}" dt="2023-10-28T00:08:21.950" v="3" actId="20577"/>
          <ac:spMkLst>
            <pc:docMk/>
            <pc:sldMk cId="1937423064" sldId="606"/>
            <ac:spMk id="12" creationId="{78126F38-8B56-6129-962F-5469035C8159}"/>
          </ac:spMkLst>
        </pc:spChg>
      </pc:sldChg>
      <pc:sldChg chg="del">
        <pc:chgData name="Eileen Fleming Suse" userId="S::efs3844@ads.northwestern.edu::725c94ef-d051-42d7-9d33-8572765d592b" providerId="AD" clId="Web-{2D3E1CBF-0F08-92B9-6543-9FE5E77E56E9}" dt="2023-10-28T00:23:48.585" v="73"/>
        <pc:sldMkLst>
          <pc:docMk/>
          <pc:sldMk cId="2500564114" sldId="624"/>
        </pc:sldMkLst>
      </pc:sldChg>
      <pc:sldChg chg="addSp delSp modSp delCm">
        <pc:chgData name="Eileen Fleming Suse" userId="S::efs3844@ads.northwestern.edu::725c94ef-d051-42d7-9d33-8572765d592b" providerId="AD" clId="Web-{2D3E1CBF-0F08-92B9-6543-9FE5E77E56E9}" dt="2023-10-28T14:54:08.976" v="263"/>
        <pc:sldMkLst>
          <pc:docMk/>
          <pc:sldMk cId="53107998" sldId="627"/>
        </pc:sldMkLst>
        <pc:spChg chg="del">
          <ac:chgData name="Eileen Fleming Suse" userId="S::efs3844@ads.northwestern.edu::725c94ef-d051-42d7-9d33-8572765d592b" providerId="AD" clId="Web-{2D3E1CBF-0F08-92B9-6543-9FE5E77E56E9}" dt="2023-10-28T00:28:55.500" v="79"/>
          <ac:spMkLst>
            <pc:docMk/>
            <pc:sldMk cId="53107998" sldId="627"/>
            <ac:spMk id="6" creationId="{5061076E-BCAA-95BB-947C-06473AB43500}"/>
          </ac:spMkLst>
        </pc:spChg>
        <pc:spChg chg="add mod">
          <ac:chgData name="Eileen Fleming Suse" userId="S::efs3844@ads.northwestern.edu::725c94ef-d051-42d7-9d33-8572765d592b" providerId="AD" clId="Web-{2D3E1CBF-0F08-92B9-6543-9FE5E77E56E9}" dt="2023-10-28T14:19:11.939" v="117" actId="20577"/>
          <ac:spMkLst>
            <pc:docMk/>
            <pc:sldMk cId="53107998" sldId="627"/>
            <ac:spMk id="6" creationId="{6869C5A5-AA49-7E86-16CA-330531D2D3A5}"/>
          </ac:spMkLst>
        </pc:spChg>
        <pc:spChg chg="del">
          <ac:chgData name="Eileen Fleming Suse" userId="S::efs3844@ads.northwestern.edu::725c94ef-d051-42d7-9d33-8572765d592b" providerId="AD" clId="Web-{2D3E1CBF-0F08-92B9-6543-9FE5E77E56E9}" dt="2023-10-28T14:14:49.415" v="81"/>
          <ac:spMkLst>
            <pc:docMk/>
            <pc:sldMk cId="53107998" sldId="627"/>
            <ac:spMk id="11" creationId="{1001CA27-B312-ABF1-7B46-5CD64FE61847}"/>
          </ac:spMkLst>
        </pc:spChg>
        <pc:picChg chg="del">
          <ac:chgData name="Eileen Fleming Suse" userId="S::efs3844@ads.northwestern.edu::725c94ef-d051-42d7-9d33-8572765d592b" providerId="AD" clId="Web-{2D3E1CBF-0F08-92B9-6543-9FE5E77E56E9}" dt="2023-10-28T00:28:55.531" v="80"/>
          <ac:picMkLst>
            <pc:docMk/>
            <pc:sldMk cId="53107998" sldId="627"/>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08.976" v="263"/>
              <pc2:cmMkLst xmlns:pc2="http://schemas.microsoft.com/office/powerpoint/2019/9/main/command">
                <pc:docMk/>
                <pc:sldMk cId="53107998" sldId="627"/>
                <pc2:cmMk id="{C48A6C56-B343-467E-9FD1-86B163B01706}"/>
              </pc2:cmMkLst>
            </pc226:cmChg>
            <pc226:cmChg xmlns:pc226="http://schemas.microsoft.com/office/powerpoint/2022/06/main/command" chg="del">
              <pc226:chgData name="Eileen Fleming Suse" userId="S::efs3844@ads.northwestern.edu::725c94ef-d051-42d7-9d33-8572765d592b" providerId="AD" clId="Web-{2D3E1CBF-0F08-92B9-6543-9FE5E77E56E9}" dt="2023-10-28T14:53:58.913" v="262"/>
              <pc2:cmMkLst xmlns:pc2="http://schemas.microsoft.com/office/powerpoint/2019/9/main/command">
                <pc:docMk/>
                <pc:sldMk cId="53107998" sldId="627"/>
                <pc2:cmMk id="{46D04177-1E1A-4590-B3B8-03DE51A18B3C}"/>
              </pc2:cmMkLst>
            </pc226:cmChg>
          </p:ext>
        </pc:extLst>
      </pc:sldChg>
      <pc:sldChg chg="addSp delSp modSp delCm">
        <pc:chgData name="Eileen Fleming Suse" userId="S::efs3844@ads.northwestern.edu::725c94ef-d051-42d7-9d33-8572765d592b" providerId="AD" clId="Web-{2D3E1CBF-0F08-92B9-6543-9FE5E77E56E9}" dt="2023-10-28T14:53:48.928" v="261"/>
        <pc:sldMkLst>
          <pc:docMk/>
          <pc:sldMk cId="534784336" sldId="628"/>
        </pc:sldMkLst>
        <pc:spChg chg="mod">
          <ac:chgData name="Eileen Fleming Suse" userId="S::efs3844@ads.northwestern.edu::725c94ef-d051-42d7-9d33-8572765d592b" providerId="AD" clId="Web-{2D3E1CBF-0F08-92B9-6543-9FE5E77E56E9}" dt="2023-10-28T14:26:26.922" v="168" actId="14100"/>
          <ac:spMkLst>
            <pc:docMk/>
            <pc:sldMk cId="534784336" sldId="628"/>
            <ac:spMk id="2" creationId="{5B0924D0-76E0-769E-E658-F9192618FFD4}"/>
          </ac:spMkLst>
        </pc:spChg>
        <pc:spChg chg="del">
          <ac:chgData name="Eileen Fleming Suse" userId="S::efs3844@ads.northwestern.edu::725c94ef-d051-42d7-9d33-8572765d592b" providerId="AD" clId="Web-{2D3E1CBF-0F08-92B9-6543-9FE5E77E56E9}" dt="2023-10-28T14:30:04.491" v="169"/>
          <ac:spMkLst>
            <pc:docMk/>
            <pc:sldMk cId="534784336" sldId="628"/>
            <ac:spMk id="3" creationId="{F9B93FA2-9BD2-09DD-15C3-2A948A3663FF}"/>
          </ac:spMkLst>
        </pc:spChg>
        <pc:spChg chg="add mod">
          <ac:chgData name="Eileen Fleming Suse" userId="S::efs3844@ads.northwestern.edu::725c94ef-d051-42d7-9d33-8572765d592b" providerId="AD" clId="Web-{2D3E1CBF-0F08-92B9-6543-9FE5E77E56E9}" dt="2023-10-28T14:38:01.288" v="202" actId="1076"/>
          <ac:spMkLst>
            <pc:docMk/>
            <pc:sldMk cId="534784336" sldId="628"/>
            <ac:spMk id="9" creationId="{98150912-7A4D-8CF4-F429-183917B0EF9E}"/>
          </ac:spMkLst>
        </pc:spChg>
        <pc:picChg chg="add del mod">
          <ac:chgData name="Eileen Fleming Suse" userId="S::efs3844@ads.northwestern.edu::725c94ef-d051-42d7-9d33-8572765d592b" providerId="AD" clId="Web-{2D3E1CBF-0F08-92B9-6543-9FE5E77E56E9}" dt="2023-10-28T14:30:38.430" v="174"/>
          <ac:picMkLst>
            <pc:docMk/>
            <pc:sldMk cId="534784336" sldId="628"/>
            <ac:picMk id="6" creationId="{1FC00E2F-3882-E810-155C-29DE0C5A93A5}"/>
          </ac:picMkLst>
        </pc:picChg>
        <pc:picChg chg="add mod">
          <ac:chgData name="Eileen Fleming Suse" userId="S::efs3844@ads.northwestern.edu::725c94ef-d051-42d7-9d33-8572765d592b" providerId="AD" clId="Web-{2D3E1CBF-0F08-92B9-6543-9FE5E77E56E9}" dt="2023-10-28T14:37:02.692" v="193" actId="1076"/>
          <ac:picMkLst>
            <pc:docMk/>
            <pc:sldMk cId="534784336" sldId="628"/>
            <ac:picMk id="7" creationId="{DB88B973-8D9A-30CF-C67C-F3355B614054}"/>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3:48.928" v="261"/>
              <pc2:cmMkLst xmlns:pc2="http://schemas.microsoft.com/office/powerpoint/2019/9/main/command">
                <pc:docMk/>
                <pc:sldMk cId="534784336" sldId="628"/>
                <pc2:cmMk id="{D2FD4193-EF38-49C6-9875-8E415492E71E}"/>
              </pc2:cmMkLst>
            </pc226:cmChg>
          </p:ext>
        </pc:extLst>
      </pc:sldChg>
      <pc:sldChg chg="new del">
        <pc:chgData name="Eileen Fleming Suse" userId="S::efs3844@ads.northwestern.edu::725c94ef-d051-42d7-9d33-8572765d592b" providerId="AD" clId="Web-{2D3E1CBF-0F08-92B9-6543-9FE5E77E56E9}" dt="2023-10-28T00:28:43.703" v="76"/>
        <pc:sldMkLst>
          <pc:docMk/>
          <pc:sldMk cId="2010547247" sldId="634"/>
        </pc:sldMkLst>
      </pc:sldChg>
      <pc:sldChg chg="addSp delSp modSp add replId delCm">
        <pc:chgData name="Eileen Fleming Suse" userId="S::efs3844@ads.northwestern.edu::725c94ef-d051-42d7-9d33-8572765d592b" providerId="AD" clId="Web-{2D3E1CBF-0F08-92B9-6543-9FE5E77E56E9}" dt="2023-10-28T14:54:31.633" v="266" actId="688"/>
        <pc:sldMkLst>
          <pc:docMk/>
          <pc:sldMk cId="411397640" sldId="635"/>
        </pc:sldMkLst>
        <pc:spChg chg="mod">
          <ac:chgData name="Eileen Fleming Suse" userId="S::efs3844@ads.northwestern.edu::725c94ef-d051-42d7-9d33-8572765d592b" providerId="AD" clId="Web-{2D3E1CBF-0F08-92B9-6543-9FE5E77E56E9}" dt="2023-10-28T14:25:22.123" v="159" actId="1076"/>
          <ac:spMkLst>
            <pc:docMk/>
            <pc:sldMk cId="411397640" sldId="635"/>
            <ac:spMk id="2" creationId="{EDBA7EA6-A8BC-1979-2886-87AD1991E00E}"/>
          </ac:spMkLst>
        </pc:spChg>
        <pc:spChg chg="del">
          <ac:chgData name="Eileen Fleming Suse" userId="S::efs3844@ads.northwestern.edu::725c94ef-d051-42d7-9d33-8572765d592b" providerId="AD" clId="Web-{2D3E1CBF-0F08-92B9-6543-9FE5E77E56E9}" dt="2023-10-28T00:28:55.234" v="78"/>
          <ac:spMkLst>
            <pc:docMk/>
            <pc:sldMk cId="411397640" sldId="635"/>
            <ac:spMk id="3" creationId="{22D7074D-B494-B92E-736B-139BAB3175B9}"/>
          </ac:spMkLst>
        </pc:spChg>
        <pc:spChg chg="mod">
          <ac:chgData name="Eileen Fleming Suse" userId="S::efs3844@ads.northwestern.edu::725c94ef-d051-42d7-9d33-8572765d592b" providerId="AD" clId="Web-{2D3E1CBF-0F08-92B9-6543-9FE5E77E56E9}" dt="2023-10-28T14:25:31.623" v="160" actId="1076"/>
          <ac:spMkLst>
            <pc:docMk/>
            <pc:sldMk cId="411397640" sldId="635"/>
            <ac:spMk id="4" creationId="{24F154B2-4E01-4816-22AD-EE966850CD86}"/>
          </ac:spMkLst>
        </pc:spChg>
        <pc:spChg chg="mod">
          <ac:chgData name="Eileen Fleming Suse" userId="S::efs3844@ads.northwestern.edu::725c94ef-d051-42d7-9d33-8572765d592b" providerId="AD" clId="Web-{2D3E1CBF-0F08-92B9-6543-9FE5E77E56E9}" dt="2023-10-28T14:25:40.717" v="163" actId="1076"/>
          <ac:spMkLst>
            <pc:docMk/>
            <pc:sldMk cId="411397640" sldId="635"/>
            <ac:spMk id="6" creationId="{5061076E-BCAA-95BB-947C-06473AB43500}"/>
          </ac:spMkLst>
        </pc:spChg>
        <pc:spChg chg="add mod">
          <ac:chgData name="Eileen Fleming Suse" userId="S::efs3844@ads.northwestern.edu::725c94ef-d051-42d7-9d33-8572765d592b" providerId="AD" clId="Web-{2D3E1CBF-0F08-92B9-6543-9FE5E77E56E9}" dt="2023-10-28T14:54:31.633" v="266" actId="688"/>
          <ac:spMkLst>
            <pc:docMk/>
            <pc:sldMk cId="411397640" sldId="635"/>
            <ac:spMk id="7" creationId="{C4CE6283-A808-AE07-353B-1EEB0D5BF6FD}"/>
          </ac:spMkLst>
        </pc:spChg>
        <pc:spChg chg="add del mod">
          <ac:chgData name="Eileen Fleming Suse" userId="S::efs3844@ads.northwestern.edu::725c94ef-d051-42d7-9d33-8572765d592b" providerId="AD" clId="Web-{2D3E1CBF-0F08-92B9-6543-9FE5E77E56E9}" dt="2023-10-28T14:19:12.080" v="118"/>
          <ac:spMkLst>
            <pc:docMk/>
            <pc:sldMk cId="411397640" sldId="635"/>
            <ac:spMk id="9" creationId="{F51C096E-2197-06DC-5548-06F7FD861993}"/>
          </ac:spMkLst>
        </pc:spChg>
        <pc:spChg chg="mod">
          <ac:chgData name="Eileen Fleming Suse" userId="S::efs3844@ads.northwestern.edu::725c94ef-d051-42d7-9d33-8572765d592b" providerId="AD" clId="Web-{2D3E1CBF-0F08-92B9-6543-9FE5E77E56E9}" dt="2023-10-28T14:25:31.639" v="162" actId="1076"/>
          <ac:spMkLst>
            <pc:docMk/>
            <pc:sldMk cId="411397640" sldId="635"/>
            <ac:spMk id="11" creationId="{1001CA27-B312-ABF1-7B46-5CD64FE61847}"/>
          </ac:spMkLst>
        </pc:spChg>
        <pc:picChg chg="del">
          <ac:chgData name="Eileen Fleming Suse" userId="S::efs3844@ads.northwestern.edu::725c94ef-d051-42d7-9d33-8572765d592b" providerId="AD" clId="Web-{2D3E1CBF-0F08-92B9-6543-9FE5E77E56E9}" dt="2023-10-28T00:28:46.656" v="77"/>
          <ac:picMkLst>
            <pc:docMk/>
            <pc:sldMk cId="411397640" sldId="635"/>
            <ac:picMk id="8" creationId="{69FCDDB0-47F5-DBE4-711A-C6061E65FD92}"/>
          </ac:picMkLst>
        </pc:picChg>
        <pc:picChg chg="mod">
          <ac:chgData name="Eileen Fleming Suse" userId="S::efs3844@ads.northwestern.edu::725c94ef-d051-42d7-9d33-8572765d592b" providerId="AD" clId="Web-{2D3E1CBF-0F08-92B9-6543-9FE5E77E56E9}" dt="2023-10-28T14:25:31.623" v="161" actId="1076"/>
          <ac:picMkLst>
            <pc:docMk/>
            <pc:sldMk cId="411397640" sldId="635"/>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21.070" v="265"/>
              <pc2:cmMkLst xmlns:pc2="http://schemas.microsoft.com/office/powerpoint/2019/9/main/command">
                <pc:docMk/>
                <pc:sldMk cId="411397640" sldId="635"/>
                <pc2:cmMk id="{3C68ED1F-70B6-42FD-A606-A0188A0C1982}"/>
              </pc2:cmMkLst>
            </pc226:cmChg>
            <pc226:cmChg xmlns:pc226="http://schemas.microsoft.com/office/powerpoint/2022/06/main/command" chg="del">
              <pc226:chgData name="Eileen Fleming Suse" userId="S::efs3844@ads.northwestern.edu::725c94ef-d051-42d7-9d33-8572765d592b" providerId="AD" clId="Web-{2D3E1CBF-0F08-92B9-6543-9FE5E77E56E9}" dt="2023-10-28T14:54:09.819" v="264"/>
              <pc2:cmMkLst xmlns:pc2="http://schemas.microsoft.com/office/powerpoint/2019/9/main/command">
                <pc:docMk/>
                <pc:sldMk cId="411397640" sldId="635"/>
                <pc2:cmMk id="{00E11887-98E4-479A-8DA4-445B0A6D85E8}"/>
              </pc2:cmMkLst>
            </pc226:cmChg>
          </p:ext>
        </pc:extLst>
      </pc:sldChg>
      <pc:sldChg chg="addSp delSp modSp new modNotes">
        <pc:chgData name="Eileen Fleming Suse" userId="S::efs3844@ads.northwestern.edu::725c94ef-d051-42d7-9d33-8572765d592b" providerId="AD" clId="Web-{2D3E1CBF-0F08-92B9-6543-9FE5E77E56E9}" dt="2023-10-28T14:53:29.990" v="260"/>
        <pc:sldMkLst>
          <pc:docMk/>
          <pc:sldMk cId="975286347" sldId="636"/>
        </pc:sldMkLst>
        <pc:spChg chg="mod">
          <ac:chgData name="Eileen Fleming Suse" userId="S::efs3844@ads.northwestern.edu::725c94ef-d051-42d7-9d33-8572765d592b" providerId="AD" clId="Web-{2D3E1CBF-0F08-92B9-6543-9FE5E77E56E9}" dt="2023-10-28T14:53:20.443" v="259" actId="1076"/>
          <ac:spMkLst>
            <pc:docMk/>
            <pc:sldMk cId="975286347" sldId="636"/>
            <ac:spMk id="2" creationId="{BB53F377-28A9-F2D5-76A8-8CDE2A9E7535}"/>
          </ac:spMkLst>
        </pc:spChg>
        <pc:spChg chg="del">
          <ac:chgData name="Eileen Fleming Suse" userId="S::efs3844@ads.northwestern.edu::725c94ef-d051-42d7-9d33-8572765d592b" providerId="AD" clId="Web-{2D3E1CBF-0F08-92B9-6543-9FE5E77E56E9}" dt="2023-10-28T14:38:30.570" v="209"/>
          <ac:spMkLst>
            <pc:docMk/>
            <pc:sldMk cId="975286347" sldId="636"/>
            <ac:spMk id="3" creationId="{AA591B85-8B99-0001-0D2D-E197FD1E29FA}"/>
          </ac:spMkLst>
        </pc:spChg>
        <pc:spChg chg="add mod">
          <ac:chgData name="Eileen Fleming Suse" userId="S::efs3844@ads.northwestern.edu::725c94ef-d051-42d7-9d33-8572765d592b" providerId="AD" clId="Web-{2D3E1CBF-0F08-92B9-6543-9FE5E77E56E9}" dt="2023-10-28T14:53:10.302" v="258" actId="1076"/>
          <ac:spMkLst>
            <pc:docMk/>
            <pc:sldMk cId="975286347" sldId="636"/>
            <ac:spMk id="6" creationId="{F6338EC5-0A81-7DC2-69F0-D3BF4953F92A}"/>
          </ac:spMkLst>
        </pc:spChg>
        <pc:spChg chg="add mod">
          <ac:chgData name="Eileen Fleming Suse" userId="S::efs3844@ads.northwestern.edu::725c94ef-d051-42d7-9d33-8572765d592b" providerId="AD" clId="Web-{2D3E1CBF-0F08-92B9-6543-9FE5E77E56E9}" dt="2023-10-28T14:51:22.283" v="247" actId="20577"/>
          <ac:spMkLst>
            <pc:docMk/>
            <pc:sldMk cId="975286347" sldId="636"/>
            <ac:spMk id="7" creationId="{3AA2C132-6976-52A2-A4F0-D81D09CBB1EA}"/>
          </ac:spMkLst>
        </pc:spChg>
        <pc:picChg chg="add mod">
          <ac:chgData name="Eileen Fleming Suse" userId="S::efs3844@ads.northwestern.edu::725c94ef-d051-42d7-9d33-8572765d592b" providerId="AD" clId="Web-{2D3E1CBF-0F08-92B9-6543-9FE5E77E56E9}" dt="2023-10-28T14:52:59.786" v="257" actId="1076"/>
          <ac:picMkLst>
            <pc:docMk/>
            <pc:sldMk cId="975286347" sldId="636"/>
            <ac:picMk id="8" creationId="{F6AF464B-BCF9-C413-1A61-5938E8025FD8}"/>
          </ac:picMkLst>
        </pc:picChg>
        <pc:picChg chg="add mod">
          <ac:chgData name="Eileen Fleming Suse" userId="S::efs3844@ads.northwestern.edu::725c94ef-d051-42d7-9d33-8572765d592b" providerId="AD" clId="Web-{2D3E1CBF-0F08-92B9-6543-9FE5E77E56E9}" dt="2023-10-28T14:52:49.004" v="256" actId="14100"/>
          <ac:picMkLst>
            <pc:docMk/>
            <pc:sldMk cId="975286347" sldId="636"/>
            <ac:picMk id="9" creationId="{8553280F-F27E-3A70-1DDD-92D0DF0018F9}"/>
          </ac:picMkLst>
        </pc:picChg>
      </pc:sldChg>
    </pc:docChg>
  </pc:docChgLst>
  <pc:docChgLst>
    <pc:chgData name="Alana Rivera" userId="S::arg3669@ads.northwestern.edu::fc8b707a-b7e9-4f2a-8d71-2d76819b7881" providerId="AD" clId="Web-{5DC65600-F3C9-4205-B138-3708EB0A1C1D}"/>
    <pc:docChg chg="sldOrd">
      <pc:chgData name="Alana Rivera" userId="S::arg3669@ads.northwestern.edu::fc8b707a-b7e9-4f2a-8d71-2d76819b7881" providerId="AD" clId="Web-{5DC65600-F3C9-4205-B138-3708EB0A1C1D}" dt="2023-05-09T18:50:49.614" v="0"/>
      <pc:docMkLst>
        <pc:docMk/>
      </pc:docMkLst>
      <pc:sldChg chg="ord">
        <pc:chgData name="Alana Rivera" userId="S::arg3669@ads.northwestern.edu::fc8b707a-b7e9-4f2a-8d71-2d76819b7881" providerId="AD" clId="Web-{5DC65600-F3C9-4205-B138-3708EB0A1C1D}" dt="2023-05-09T18:50:49.614" v="0"/>
        <pc:sldMkLst>
          <pc:docMk/>
          <pc:sldMk cId="52189943" sldId="343"/>
        </pc:sldMkLst>
      </pc:sldChg>
    </pc:docChg>
  </pc:docChgLst>
  <pc:docChgLst>
    <pc:chgData name="LCaldarelli" userId="S::lcaldarelli_luriechildrens.org#ext#@nuwildcat.onmicrosoft.com::cd79b54d-c14e-4199-a04a-39c6f592e710" providerId="AD" clId="Web-{1D788AEF-8DA4-9FDC-F8F6-781996136A25}"/>
    <pc:docChg chg="delSld">
      <pc:chgData name="LCaldarelli" userId="S::lcaldarelli_luriechildrens.org#ext#@nuwildcat.onmicrosoft.com::cd79b54d-c14e-4199-a04a-39c6f592e710" providerId="AD" clId="Web-{1D788AEF-8DA4-9FDC-F8F6-781996136A25}" dt="2023-11-20T17:20:03.301" v="0"/>
      <pc:docMkLst>
        <pc:docMk/>
      </pc:docMkLst>
      <pc:sldChg chg="del">
        <pc:chgData name="LCaldarelli" userId="S::lcaldarelli_luriechildrens.org#ext#@nuwildcat.onmicrosoft.com::cd79b54d-c14e-4199-a04a-39c6f592e710" providerId="AD" clId="Web-{1D788AEF-8DA4-9FDC-F8F6-781996136A25}" dt="2023-11-20T17:20:03.301" v="0"/>
        <pc:sldMkLst>
          <pc:docMk/>
          <pc:sldMk cId="3124210322" sldId="714"/>
        </pc:sldMkLst>
      </pc:sldChg>
    </pc:docChg>
  </pc:docChgLst>
  <pc:docChgLst>
    <pc:chgData name="Alana Rivera" userId="S::arg3669@ads.northwestern.edu::fc8b707a-b7e9-4f2a-8d71-2d76819b7881" providerId="AD" clId="Web-{3E81E0CF-E582-4D57-5132-0B6C13973CF0}"/>
    <pc:docChg chg="addSld delSld modSld sldOrd">
      <pc:chgData name="Alana Rivera" userId="S::arg3669@ads.northwestern.edu::fc8b707a-b7e9-4f2a-8d71-2d76819b7881" providerId="AD" clId="Web-{3E81E0CF-E582-4D57-5132-0B6C13973CF0}" dt="2023-12-28T20:48:20.239" v="383"/>
      <pc:docMkLst>
        <pc:docMk/>
      </pc:docMkLst>
      <pc:sldChg chg="del">
        <pc:chgData name="Alana Rivera" userId="S::arg3669@ads.northwestern.edu::fc8b707a-b7e9-4f2a-8d71-2d76819b7881" providerId="AD" clId="Web-{3E81E0CF-E582-4D57-5132-0B6C13973CF0}" dt="2023-12-28T17:56:24.413" v="63"/>
        <pc:sldMkLst>
          <pc:docMk/>
          <pc:sldMk cId="3635595752" sldId="545"/>
        </pc:sldMkLst>
      </pc:sldChg>
      <pc:sldChg chg="del">
        <pc:chgData name="Alana Rivera" userId="S::arg3669@ads.northwestern.edu::fc8b707a-b7e9-4f2a-8d71-2d76819b7881" providerId="AD" clId="Web-{3E81E0CF-E582-4D57-5132-0B6C13973CF0}" dt="2023-12-28T20:03:27.807" v="186"/>
        <pc:sldMkLst>
          <pc:docMk/>
          <pc:sldMk cId="1036043289" sldId="546"/>
        </pc:sldMkLst>
      </pc:sldChg>
      <pc:sldChg chg="del">
        <pc:chgData name="Alana Rivera" userId="S::arg3669@ads.northwestern.edu::fc8b707a-b7e9-4f2a-8d71-2d76819b7881" providerId="AD" clId="Web-{3E81E0CF-E582-4D57-5132-0B6C13973CF0}" dt="2023-12-28T20:03:23.385" v="154"/>
        <pc:sldMkLst>
          <pc:docMk/>
          <pc:sldMk cId="3745706804" sldId="548"/>
        </pc:sldMkLst>
      </pc:sldChg>
      <pc:sldChg chg="del">
        <pc:chgData name="Alana Rivera" userId="S::arg3669@ads.northwestern.edu::fc8b707a-b7e9-4f2a-8d71-2d76819b7881" providerId="AD" clId="Web-{3E81E0CF-E582-4D57-5132-0B6C13973CF0}" dt="2023-12-28T20:03:22.775" v="152"/>
        <pc:sldMkLst>
          <pc:docMk/>
          <pc:sldMk cId="3472964082" sldId="550"/>
        </pc:sldMkLst>
      </pc:sldChg>
      <pc:sldChg chg="del">
        <pc:chgData name="Alana Rivera" userId="S::arg3669@ads.northwestern.edu::fc8b707a-b7e9-4f2a-8d71-2d76819b7881" providerId="AD" clId="Web-{3E81E0CF-E582-4D57-5132-0B6C13973CF0}" dt="2023-12-28T20:03:23.369" v="153"/>
        <pc:sldMkLst>
          <pc:docMk/>
          <pc:sldMk cId="2562283095" sldId="551"/>
        </pc:sldMkLst>
      </pc:sldChg>
      <pc:sldChg chg="del">
        <pc:chgData name="Alana Rivera" userId="S::arg3669@ads.northwestern.edu::fc8b707a-b7e9-4f2a-8d71-2d76819b7881" providerId="AD" clId="Web-{3E81E0CF-E582-4D57-5132-0B6C13973CF0}" dt="2023-12-28T20:03:27.979" v="189"/>
        <pc:sldMkLst>
          <pc:docMk/>
          <pc:sldMk cId="714682852" sldId="552"/>
        </pc:sldMkLst>
      </pc:sldChg>
      <pc:sldChg chg="del">
        <pc:chgData name="Alana Rivera" userId="S::arg3669@ads.northwestern.edu::fc8b707a-b7e9-4f2a-8d71-2d76819b7881" providerId="AD" clId="Web-{3E81E0CF-E582-4D57-5132-0B6C13973CF0}" dt="2023-12-28T20:03:27.901" v="188"/>
        <pc:sldMkLst>
          <pc:docMk/>
          <pc:sldMk cId="1522616096" sldId="555"/>
        </pc:sldMkLst>
      </pc:sldChg>
      <pc:sldChg chg="del">
        <pc:chgData name="Alana Rivera" userId="S::arg3669@ads.northwestern.edu::fc8b707a-b7e9-4f2a-8d71-2d76819b7881" providerId="AD" clId="Web-{3E81E0CF-E582-4D57-5132-0B6C13973CF0}" dt="2023-12-28T20:25:23.100" v="277"/>
        <pc:sldMkLst>
          <pc:docMk/>
          <pc:sldMk cId="1514756035" sldId="556"/>
        </pc:sldMkLst>
      </pc:sldChg>
      <pc:sldChg chg="del">
        <pc:chgData name="Alana Rivera" userId="S::arg3669@ads.northwestern.edu::fc8b707a-b7e9-4f2a-8d71-2d76819b7881" providerId="AD" clId="Web-{3E81E0CF-E582-4D57-5132-0B6C13973CF0}" dt="2023-12-28T20:03:27.854" v="187"/>
        <pc:sldMkLst>
          <pc:docMk/>
          <pc:sldMk cId="773696652" sldId="558"/>
        </pc:sldMkLst>
      </pc:sldChg>
      <pc:sldChg chg="addSp modSp">
        <pc:chgData name="Alana Rivera" userId="S::arg3669@ads.northwestern.edu::fc8b707a-b7e9-4f2a-8d71-2d76819b7881" providerId="AD" clId="Web-{3E81E0CF-E582-4D57-5132-0B6C13973CF0}" dt="2023-12-28T20:43:42.058" v="369" actId="1076"/>
        <pc:sldMkLst>
          <pc:docMk/>
          <pc:sldMk cId="1141815353" sldId="562"/>
        </pc:sldMkLst>
        <pc:spChg chg="mod">
          <ac:chgData name="Alana Rivera" userId="S::arg3669@ads.northwestern.edu::fc8b707a-b7e9-4f2a-8d71-2d76819b7881" providerId="AD" clId="Web-{3E81E0CF-E582-4D57-5132-0B6C13973CF0}" dt="2023-12-28T20:35:20.588" v="335" actId="20577"/>
          <ac:spMkLst>
            <pc:docMk/>
            <pc:sldMk cId="1141815353" sldId="562"/>
            <ac:spMk id="2" creationId="{05579FEB-3306-A04E-6516-F16994F3B0F9}"/>
          </ac:spMkLst>
        </pc:spChg>
        <pc:spChg chg="add mod">
          <ac:chgData name="Alana Rivera" userId="S::arg3669@ads.northwestern.edu::fc8b707a-b7e9-4f2a-8d71-2d76819b7881" providerId="AD" clId="Web-{3E81E0CF-E582-4D57-5132-0B6C13973CF0}" dt="2023-12-28T20:43:22.510" v="365" actId="14100"/>
          <ac:spMkLst>
            <pc:docMk/>
            <pc:sldMk cId="1141815353" sldId="562"/>
            <ac:spMk id="450" creationId="{3FF9DEE6-802A-29EE-A6D0-AD98F6E08823}"/>
          </ac:spMkLst>
        </pc:spChg>
        <pc:spChg chg="add mod">
          <ac:chgData name="Alana Rivera" userId="S::arg3669@ads.northwestern.edu::fc8b707a-b7e9-4f2a-8d71-2d76819b7881" providerId="AD" clId="Web-{3E81E0CF-E582-4D57-5132-0B6C13973CF0}" dt="2023-12-28T20:43:42.058" v="369" actId="1076"/>
          <ac:spMkLst>
            <pc:docMk/>
            <pc:sldMk cId="1141815353" sldId="562"/>
            <ac:spMk id="451" creationId="{3776096E-45C6-5BFE-2499-2A66E529005D}"/>
          </ac:spMkLst>
        </pc:spChg>
        <pc:graphicFrameChg chg="modGraphic">
          <ac:chgData name="Alana Rivera" userId="S::arg3669@ads.northwestern.edu::fc8b707a-b7e9-4f2a-8d71-2d76819b7881" providerId="AD" clId="Web-{3E81E0CF-E582-4D57-5132-0B6C13973CF0}" dt="2023-12-28T20:35:05.541" v="322" actId="20577"/>
          <ac:graphicFrameMkLst>
            <pc:docMk/>
            <pc:sldMk cId="1141815353" sldId="562"/>
            <ac:graphicFrameMk id="137" creationId="{61D68665-D38F-2DB1-AAFC-535C715B7F9F}"/>
          </ac:graphicFrameMkLst>
        </pc:graphicFrameChg>
      </pc:sldChg>
      <pc:sldChg chg="del">
        <pc:chgData name="Alana Rivera" userId="S::arg3669@ads.northwestern.edu::fc8b707a-b7e9-4f2a-8d71-2d76819b7881" providerId="AD" clId="Web-{3E81E0CF-E582-4D57-5132-0B6C13973CF0}" dt="2023-12-28T20:03:27.713" v="183"/>
        <pc:sldMkLst>
          <pc:docMk/>
          <pc:sldMk cId="3419957415" sldId="577"/>
        </pc:sldMkLst>
      </pc:sldChg>
      <pc:sldChg chg="del">
        <pc:chgData name="Alana Rivera" userId="S::arg3669@ads.northwestern.edu::fc8b707a-b7e9-4f2a-8d71-2d76819b7881" providerId="AD" clId="Web-{3E81E0CF-E582-4D57-5132-0B6C13973CF0}" dt="2023-12-28T20:03:24.791" v="179"/>
        <pc:sldMkLst>
          <pc:docMk/>
          <pc:sldMk cId="785115983" sldId="578"/>
        </pc:sldMkLst>
      </pc:sldChg>
      <pc:sldChg chg="del">
        <pc:chgData name="Alana Rivera" userId="S::arg3669@ads.northwestern.edu::fc8b707a-b7e9-4f2a-8d71-2d76819b7881" providerId="AD" clId="Web-{3E81E0CF-E582-4D57-5132-0B6C13973CF0}" dt="2023-12-28T20:03:25.385" v="180"/>
        <pc:sldMkLst>
          <pc:docMk/>
          <pc:sldMk cId="3030449316" sldId="579"/>
        </pc:sldMkLst>
      </pc:sldChg>
      <pc:sldChg chg="del">
        <pc:chgData name="Alana Rivera" userId="S::arg3669@ads.northwestern.edu::fc8b707a-b7e9-4f2a-8d71-2d76819b7881" providerId="AD" clId="Web-{3E81E0CF-E582-4D57-5132-0B6C13973CF0}" dt="2023-12-28T20:03:26.072" v="181"/>
        <pc:sldMkLst>
          <pc:docMk/>
          <pc:sldMk cId="4283907660" sldId="580"/>
        </pc:sldMkLst>
      </pc:sldChg>
      <pc:sldChg chg="del">
        <pc:chgData name="Alana Rivera" userId="S::arg3669@ads.northwestern.edu::fc8b707a-b7e9-4f2a-8d71-2d76819b7881" providerId="AD" clId="Web-{3E81E0CF-E582-4D57-5132-0B6C13973CF0}" dt="2023-12-28T20:03:26.947" v="182"/>
        <pc:sldMkLst>
          <pc:docMk/>
          <pc:sldMk cId="3429940818" sldId="581"/>
        </pc:sldMkLst>
      </pc:sldChg>
      <pc:sldChg chg="del">
        <pc:chgData name="Alana Rivera" userId="S::arg3669@ads.northwestern.edu::fc8b707a-b7e9-4f2a-8d71-2d76819b7881" providerId="AD" clId="Web-{3E81E0CF-E582-4D57-5132-0B6C13973CF0}" dt="2023-12-28T20:03:27.713" v="184"/>
        <pc:sldMkLst>
          <pc:docMk/>
          <pc:sldMk cId="3573947264" sldId="584"/>
        </pc:sldMkLst>
      </pc:sldChg>
      <pc:sldChg chg="del">
        <pc:chgData name="Alana Rivera" userId="S::arg3669@ads.northwestern.edu::fc8b707a-b7e9-4f2a-8d71-2d76819b7881" providerId="AD" clId="Web-{3E81E0CF-E582-4D57-5132-0B6C13973CF0}" dt="2023-12-28T17:56:25.600" v="64"/>
        <pc:sldMkLst>
          <pc:docMk/>
          <pc:sldMk cId="3726638559" sldId="616"/>
        </pc:sldMkLst>
      </pc:sldChg>
      <pc:sldChg chg="del">
        <pc:chgData name="Alana Rivera" userId="S::arg3669@ads.northwestern.edu::fc8b707a-b7e9-4f2a-8d71-2d76819b7881" providerId="AD" clId="Web-{3E81E0CF-E582-4D57-5132-0B6C13973CF0}" dt="2023-12-28T20:03:27.791" v="185"/>
        <pc:sldMkLst>
          <pc:docMk/>
          <pc:sldMk cId="3850125703" sldId="622"/>
        </pc:sldMkLst>
      </pc:sldChg>
      <pc:sldChg chg="del">
        <pc:chgData name="Alana Rivera" userId="S::arg3669@ads.northwestern.edu::fc8b707a-b7e9-4f2a-8d71-2d76819b7881" providerId="AD" clId="Web-{3E81E0CF-E582-4D57-5132-0B6C13973CF0}" dt="2023-12-28T17:55:47.287" v="58"/>
        <pc:sldMkLst>
          <pc:docMk/>
          <pc:sldMk cId="3572565421" sldId="652"/>
        </pc:sldMkLst>
      </pc:sldChg>
      <pc:sldChg chg="del">
        <pc:chgData name="Alana Rivera" userId="S::arg3669@ads.northwestern.edu::fc8b707a-b7e9-4f2a-8d71-2d76819b7881" providerId="AD" clId="Web-{3E81E0CF-E582-4D57-5132-0B6C13973CF0}" dt="2023-12-28T17:55:59.522" v="59"/>
        <pc:sldMkLst>
          <pc:docMk/>
          <pc:sldMk cId="4023770579" sldId="654"/>
        </pc:sldMkLst>
      </pc:sldChg>
      <pc:sldChg chg="del">
        <pc:chgData name="Alana Rivera" userId="S::arg3669@ads.northwestern.edu::fc8b707a-b7e9-4f2a-8d71-2d76819b7881" providerId="AD" clId="Web-{3E81E0CF-E582-4D57-5132-0B6C13973CF0}" dt="2023-12-28T17:56:15.225" v="62"/>
        <pc:sldMkLst>
          <pc:docMk/>
          <pc:sldMk cId="3550543422" sldId="655"/>
        </pc:sldMkLst>
      </pc:sldChg>
      <pc:sldChg chg="del">
        <pc:chgData name="Alana Rivera" userId="S::arg3669@ads.northwestern.edu::fc8b707a-b7e9-4f2a-8d71-2d76819b7881" providerId="AD" clId="Web-{3E81E0CF-E582-4D57-5132-0B6C13973CF0}" dt="2023-12-28T20:02:05.054" v="147"/>
        <pc:sldMkLst>
          <pc:docMk/>
          <pc:sldMk cId="3336998141" sldId="681"/>
        </pc:sldMkLst>
      </pc:sldChg>
      <pc:sldChg chg="del">
        <pc:chgData name="Alana Rivera" userId="S::arg3669@ads.northwestern.edu::fc8b707a-b7e9-4f2a-8d71-2d76819b7881" providerId="AD" clId="Web-{3E81E0CF-E582-4D57-5132-0B6C13973CF0}" dt="2023-12-28T20:04:01.792" v="194"/>
        <pc:sldMkLst>
          <pc:docMk/>
          <pc:sldMk cId="2646520615" sldId="683"/>
        </pc:sldMkLst>
      </pc:sldChg>
      <pc:sldChg chg="del">
        <pc:chgData name="Alana Rivera" userId="S::arg3669@ads.northwestern.edu::fc8b707a-b7e9-4f2a-8d71-2d76819b7881" providerId="AD" clId="Web-{3E81E0CF-E582-4D57-5132-0B6C13973CF0}" dt="2023-12-28T20:04:14.933" v="196"/>
        <pc:sldMkLst>
          <pc:docMk/>
          <pc:sldMk cId="2093351509" sldId="685"/>
        </pc:sldMkLst>
      </pc:sldChg>
      <pc:sldChg chg="del ord">
        <pc:chgData name="Alana Rivera" userId="S::arg3669@ads.northwestern.edu::fc8b707a-b7e9-4f2a-8d71-2d76819b7881" providerId="AD" clId="Web-{3E81E0CF-E582-4D57-5132-0B6C13973CF0}" dt="2023-12-28T20:03:58.151" v="193"/>
        <pc:sldMkLst>
          <pc:docMk/>
          <pc:sldMk cId="441543077" sldId="686"/>
        </pc:sldMkLst>
      </pc:sldChg>
      <pc:sldChg chg="del">
        <pc:chgData name="Alana Rivera" userId="S::arg3669@ads.northwestern.edu::fc8b707a-b7e9-4f2a-8d71-2d76819b7881" providerId="AD" clId="Web-{3E81E0CF-E582-4D57-5132-0B6C13973CF0}" dt="2023-12-28T20:04:06.558" v="195"/>
        <pc:sldMkLst>
          <pc:docMk/>
          <pc:sldMk cId="1641636598" sldId="687"/>
        </pc:sldMkLst>
      </pc:sldChg>
      <pc:sldChg chg="del">
        <pc:chgData name="Alana Rivera" userId="S::arg3669@ads.northwestern.edu::fc8b707a-b7e9-4f2a-8d71-2d76819b7881" providerId="AD" clId="Web-{3E81E0CF-E582-4D57-5132-0B6C13973CF0}" dt="2023-12-28T20:04:18.871" v="197"/>
        <pc:sldMkLst>
          <pc:docMk/>
          <pc:sldMk cId="588023370" sldId="689"/>
        </pc:sldMkLst>
      </pc:sldChg>
      <pc:sldChg chg="del">
        <pc:chgData name="Alana Rivera" userId="S::arg3669@ads.northwestern.edu::fc8b707a-b7e9-4f2a-8d71-2d76819b7881" providerId="AD" clId="Web-{3E81E0CF-E582-4D57-5132-0B6C13973CF0}" dt="2023-12-28T20:29:49.656" v="298"/>
        <pc:sldMkLst>
          <pc:docMk/>
          <pc:sldMk cId="1177085520" sldId="692"/>
        </pc:sldMkLst>
      </pc:sldChg>
      <pc:sldChg chg="del">
        <pc:chgData name="Alana Rivera" userId="S::arg3669@ads.northwestern.edu::fc8b707a-b7e9-4f2a-8d71-2d76819b7881" providerId="AD" clId="Web-{3E81E0CF-E582-4D57-5132-0B6C13973CF0}" dt="2023-12-28T20:29:49.656" v="297"/>
        <pc:sldMkLst>
          <pc:docMk/>
          <pc:sldMk cId="2730238647" sldId="693"/>
        </pc:sldMkLst>
      </pc:sldChg>
      <pc:sldChg chg="del">
        <pc:chgData name="Alana Rivera" userId="S::arg3669@ads.northwestern.edu::fc8b707a-b7e9-4f2a-8d71-2d76819b7881" providerId="AD" clId="Web-{3E81E0CF-E582-4D57-5132-0B6C13973CF0}" dt="2023-12-28T20:29:49.671" v="302"/>
        <pc:sldMkLst>
          <pc:docMk/>
          <pc:sldMk cId="661046635" sldId="694"/>
        </pc:sldMkLst>
      </pc:sldChg>
      <pc:sldChg chg="del">
        <pc:chgData name="Alana Rivera" userId="S::arg3669@ads.northwestern.edu::fc8b707a-b7e9-4f2a-8d71-2d76819b7881" providerId="AD" clId="Web-{3E81E0CF-E582-4D57-5132-0B6C13973CF0}" dt="2023-12-28T20:29:49.671" v="301"/>
        <pc:sldMkLst>
          <pc:docMk/>
          <pc:sldMk cId="3174384986" sldId="695"/>
        </pc:sldMkLst>
      </pc:sldChg>
      <pc:sldChg chg="del">
        <pc:chgData name="Alana Rivera" userId="S::arg3669@ads.northwestern.edu::fc8b707a-b7e9-4f2a-8d71-2d76819b7881" providerId="AD" clId="Web-{3E81E0CF-E582-4D57-5132-0B6C13973CF0}" dt="2023-12-28T20:29:49.671" v="300"/>
        <pc:sldMkLst>
          <pc:docMk/>
          <pc:sldMk cId="4074859317" sldId="696"/>
        </pc:sldMkLst>
      </pc:sldChg>
      <pc:sldChg chg="del">
        <pc:chgData name="Alana Rivera" userId="S::arg3669@ads.northwestern.edu::fc8b707a-b7e9-4f2a-8d71-2d76819b7881" providerId="AD" clId="Web-{3E81E0CF-E582-4D57-5132-0B6C13973CF0}" dt="2023-12-28T20:29:49.671" v="299"/>
        <pc:sldMkLst>
          <pc:docMk/>
          <pc:sldMk cId="1549218491" sldId="697"/>
        </pc:sldMkLst>
      </pc:sldChg>
      <pc:sldChg chg="del">
        <pc:chgData name="Alana Rivera" userId="S::arg3669@ads.northwestern.edu::fc8b707a-b7e9-4f2a-8d71-2d76819b7881" providerId="AD" clId="Web-{3E81E0CF-E582-4D57-5132-0B6C13973CF0}" dt="2023-12-28T20:03:22.228" v="151"/>
        <pc:sldMkLst>
          <pc:docMk/>
          <pc:sldMk cId="1783310840" sldId="698"/>
        </pc:sldMkLst>
      </pc:sldChg>
      <pc:sldChg chg="del">
        <pc:chgData name="Alana Rivera" userId="S::arg3669@ads.northwestern.edu::fc8b707a-b7e9-4f2a-8d71-2d76819b7881" providerId="AD" clId="Web-{3E81E0CF-E582-4D57-5132-0B6C13973CF0}" dt="2023-12-28T20:03:22.228" v="150"/>
        <pc:sldMkLst>
          <pc:docMk/>
          <pc:sldMk cId="2547146411" sldId="699"/>
        </pc:sldMkLst>
      </pc:sldChg>
      <pc:sldChg chg="del">
        <pc:chgData name="Alana Rivera" userId="S::arg3669@ads.northwestern.edu::fc8b707a-b7e9-4f2a-8d71-2d76819b7881" providerId="AD" clId="Web-{3E81E0CF-E582-4D57-5132-0B6C13973CF0}" dt="2023-12-28T20:03:22.197" v="149"/>
        <pc:sldMkLst>
          <pc:docMk/>
          <pc:sldMk cId="2361021200" sldId="700"/>
        </pc:sldMkLst>
      </pc:sldChg>
      <pc:sldChg chg="del">
        <pc:chgData name="Alana Rivera" userId="S::arg3669@ads.northwestern.edu::fc8b707a-b7e9-4f2a-8d71-2d76819b7881" providerId="AD" clId="Web-{3E81E0CF-E582-4D57-5132-0B6C13973CF0}" dt="2023-12-28T20:03:22.182" v="148"/>
        <pc:sldMkLst>
          <pc:docMk/>
          <pc:sldMk cId="2437602958" sldId="701"/>
        </pc:sldMkLst>
      </pc:sldChg>
      <pc:sldChg chg="addSp modSp ord">
        <pc:chgData name="Alana Rivera" userId="S::arg3669@ads.northwestern.edu::fc8b707a-b7e9-4f2a-8d71-2d76819b7881" providerId="AD" clId="Web-{3E81E0CF-E582-4D57-5132-0B6C13973CF0}" dt="2023-12-28T20:25:27.991" v="278"/>
        <pc:sldMkLst>
          <pc:docMk/>
          <pc:sldMk cId="2701760186" sldId="702"/>
        </pc:sldMkLst>
        <pc:spChg chg="mod">
          <ac:chgData name="Alana Rivera" userId="S::arg3669@ads.northwestern.edu::fc8b707a-b7e9-4f2a-8d71-2d76819b7881" providerId="AD" clId="Web-{3E81E0CF-E582-4D57-5132-0B6C13973CF0}" dt="2023-12-28T20:25:19.319" v="276" actId="20577"/>
          <ac:spMkLst>
            <pc:docMk/>
            <pc:sldMk cId="2701760186" sldId="702"/>
            <ac:spMk id="2" creationId="{00000000-0000-0000-0000-000000000000}"/>
          </ac:spMkLst>
        </pc:spChg>
        <pc:picChg chg="add mod">
          <ac:chgData name="Alana Rivera" userId="S::arg3669@ads.northwestern.edu::fc8b707a-b7e9-4f2a-8d71-2d76819b7881" providerId="AD" clId="Web-{3E81E0CF-E582-4D57-5132-0B6C13973CF0}" dt="2023-12-28T20:24:48.630" v="265" actId="1076"/>
          <ac:picMkLst>
            <pc:docMk/>
            <pc:sldMk cId="2701760186" sldId="702"/>
            <ac:picMk id="46" creationId="{5E04828F-545E-7B88-1CDE-A6B8BD1213E3}"/>
          </ac:picMkLst>
        </pc:picChg>
        <pc:picChg chg="add mod">
          <ac:chgData name="Alana Rivera" userId="S::arg3669@ads.northwestern.edu::fc8b707a-b7e9-4f2a-8d71-2d76819b7881" providerId="AD" clId="Web-{3E81E0CF-E582-4D57-5132-0B6C13973CF0}" dt="2023-12-28T20:24:53.802" v="266" actId="1076"/>
          <ac:picMkLst>
            <pc:docMk/>
            <pc:sldMk cId="2701760186" sldId="702"/>
            <ac:picMk id="47" creationId="{C13E9A9E-F1C1-0883-4F89-871783B27D2F}"/>
          </ac:picMkLst>
        </pc:picChg>
      </pc:sldChg>
      <pc:sldChg chg="del">
        <pc:chgData name="Alana Rivera" userId="S::arg3669@ads.northwestern.edu::fc8b707a-b7e9-4f2a-8d71-2d76819b7881" providerId="AD" clId="Web-{3E81E0CF-E582-4D57-5132-0B6C13973CF0}" dt="2023-12-28T17:55:37.740" v="57"/>
        <pc:sldMkLst>
          <pc:docMk/>
          <pc:sldMk cId="1949613945" sldId="705"/>
        </pc:sldMkLst>
      </pc:sldChg>
      <pc:sldChg chg="del">
        <pc:chgData name="Alana Rivera" userId="S::arg3669@ads.northwestern.edu::fc8b707a-b7e9-4f2a-8d71-2d76819b7881" providerId="AD" clId="Web-{3E81E0CF-E582-4D57-5132-0B6C13973CF0}" dt="2023-12-28T17:56:12.194" v="61"/>
        <pc:sldMkLst>
          <pc:docMk/>
          <pc:sldMk cId="790635443" sldId="706"/>
        </pc:sldMkLst>
      </pc:sldChg>
      <pc:sldChg chg="del">
        <pc:chgData name="Alana Rivera" userId="S::arg3669@ads.northwestern.edu::fc8b707a-b7e9-4f2a-8d71-2d76819b7881" providerId="AD" clId="Web-{3E81E0CF-E582-4D57-5132-0B6C13973CF0}" dt="2023-12-28T17:55:24.943" v="55"/>
        <pc:sldMkLst>
          <pc:docMk/>
          <pc:sldMk cId="1643539557" sldId="707"/>
        </pc:sldMkLst>
      </pc:sldChg>
      <pc:sldChg chg="addSp delSp modSp mod setBg">
        <pc:chgData name="Alana Rivera" userId="S::arg3669@ads.northwestern.edu::fc8b707a-b7e9-4f2a-8d71-2d76819b7881" providerId="AD" clId="Web-{3E81E0CF-E582-4D57-5132-0B6C13973CF0}" dt="2023-12-28T17:38:23.759" v="39" actId="1076"/>
        <pc:sldMkLst>
          <pc:docMk/>
          <pc:sldMk cId="4179369718" sldId="713"/>
        </pc:sldMkLst>
        <pc:spChg chg="mod">
          <ac:chgData name="Alana Rivera" userId="S::arg3669@ads.northwestern.edu::fc8b707a-b7e9-4f2a-8d71-2d76819b7881" providerId="AD" clId="Web-{3E81E0CF-E582-4D57-5132-0B6C13973CF0}" dt="2023-12-28T17:37:06.242" v="25" actId="20577"/>
          <ac:spMkLst>
            <pc:docMk/>
            <pc:sldMk cId="4179369718" sldId="713"/>
            <ac:spMk id="2" creationId="{00000000-0000-0000-0000-000000000000}"/>
          </ac:spMkLst>
        </pc:spChg>
        <pc:spChg chg="add mod">
          <ac:chgData name="Alana Rivera" userId="S::arg3669@ads.northwestern.edu::fc8b707a-b7e9-4f2a-8d71-2d76819b7881" providerId="AD" clId="Web-{3E81E0CF-E582-4D57-5132-0B6C13973CF0}" dt="2023-12-28T17:37:54.946" v="34" actId="1076"/>
          <ac:spMkLst>
            <pc:docMk/>
            <pc:sldMk cId="4179369718" sldId="713"/>
            <ac:spMk id="3" creationId="{C3F851F6-772C-CCD7-F5C3-F84D7C2CE2C9}"/>
          </ac:spMkLst>
        </pc:spChg>
        <pc:spChg chg="add">
          <ac:chgData name="Alana Rivera" userId="S::arg3669@ads.northwestern.edu::fc8b707a-b7e9-4f2a-8d71-2d76819b7881" providerId="AD" clId="Web-{3E81E0CF-E582-4D57-5132-0B6C13973CF0}" dt="2023-12-28T17:36:46.257" v="23"/>
          <ac:spMkLst>
            <pc:docMk/>
            <pc:sldMk cId="4179369718" sldId="713"/>
            <ac:spMk id="4" creationId="{00000000-0000-0000-0000-000000000000}"/>
          </ac:spMkLst>
        </pc:spChg>
        <pc:spChg chg="add">
          <ac:chgData name="Alana Rivera" userId="S::arg3669@ads.northwestern.edu::fc8b707a-b7e9-4f2a-8d71-2d76819b7881" providerId="AD" clId="Web-{3E81E0CF-E582-4D57-5132-0B6C13973CF0}" dt="2023-12-28T17:36:46.257" v="23"/>
          <ac:spMkLst>
            <pc:docMk/>
            <pc:sldMk cId="4179369718" sldId="713"/>
            <ac:spMk id="5" creationId="{00000000-0000-0000-0000-000000000000}"/>
          </ac:spMkLst>
        </pc:spChg>
        <pc:spChg chg="mod">
          <ac:chgData name="Alana Rivera" userId="S::arg3669@ads.northwestern.edu::fc8b707a-b7e9-4f2a-8d71-2d76819b7881" providerId="AD" clId="Web-{3E81E0CF-E582-4D57-5132-0B6C13973CF0}" dt="2023-12-28T17:38:23.759" v="39" actId="1076"/>
          <ac:spMkLst>
            <pc:docMk/>
            <pc:sldMk cId="4179369718" sldId="713"/>
            <ac:spMk id="9" creationId="{00000000-0000-0000-0000-000000000000}"/>
          </ac:spMkLst>
        </pc:spChg>
        <pc:spChg chg="del">
          <ac:chgData name="Alana Rivera" userId="S::arg3669@ads.northwestern.edu::fc8b707a-b7e9-4f2a-8d71-2d76819b7881" providerId="AD" clId="Web-{3E81E0CF-E582-4D57-5132-0B6C13973CF0}" dt="2023-12-28T17:29:20.026" v="1"/>
          <ac:spMkLst>
            <pc:docMk/>
            <pc:sldMk cId="4179369718" sldId="713"/>
            <ac:spMk id="10" creationId="{00000000-0000-0000-0000-000000000000}"/>
          </ac:spMkLst>
        </pc:spChg>
        <pc:spChg chg="del mod replId">
          <ac:chgData name="Alana Rivera" userId="S::arg3669@ads.northwestern.edu::fc8b707a-b7e9-4f2a-8d71-2d76819b7881" providerId="AD" clId="Web-{3E81E0CF-E582-4D57-5132-0B6C13973CF0}" dt="2023-12-28T17:36:46.257" v="23"/>
          <ac:spMkLst>
            <pc:docMk/>
            <pc:sldMk cId="4179369718" sldId="713"/>
            <ac:spMk id="11" creationId="{00000000-0000-0000-0000-000000000000}"/>
          </ac:spMkLst>
        </pc:spChg>
        <pc:spChg chg="del">
          <ac:chgData name="Alana Rivera" userId="S::arg3669@ads.northwestern.edu::fc8b707a-b7e9-4f2a-8d71-2d76819b7881" providerId="AD" clId="Web-{3E81E0CF-E582-4D57-5132-0B6C13973CF0}" dt="2023-12-28T17:29:20.151" v="3"/>
          <ac:spMkLst>
            <pc:docMk/>
            <pc:sldMk cId="4179369718" sldId="713"/>
            <ac:spMk id="12" creationId="{00000000-0000-0000-0000-000000000000}"/>
          </ac:spMkLst>
        </pc:spChg>
        <pc:spChg chg="del">
          <ac:chgData name="Alana Rivera" userId="S::arg3669@ads.northwestern.edu::fc8b707a-b7e9-4f2a-8d71-2d76819b7881" providerId="AD" clId="Web-{3E81E0CF-E582-4D57-5132-0B6C13973CF0}" dt="2023-12-28T17:29:20.214" v="4"/>
          <ac:spMkLst>
            <pc:docMk/>
            <pc:sldMk cId="4179369718" sldId="713"/>
            <ac:spMk id="13" creationId="{00000000-0000-0000-0000-000000000000}"/>
          </ac:spMkLst>
        </pc:spChg>
        <pc:spChg chg="add">
          <ac:chgData name="Alana Rivera" userId="S::arg3669@ads.northwestern.edu::fc8b707a-b7e9-4f2a-8d71-2d76819b7881" providerId="AD" clId="Web-{3E81E0CF-E582-4D57-5132-0B6C13973CF0}" dt="2023-12-28T17:36:46.257" v="23"/>
          <ac:spMkLst>
            <pc:docMk/>
            <pc:sldMk cId="4179369718" sldId="713"/>
            <ac:spMk id="14" creationId="{56E9B3E6-E277-4D68-BA48-9CB43FFBD6E2}"/>
          </ac:spMkLst>
        </pc:spChg>
        <pc:spChg chg="add">
          <ac:chgData name="Alana Rivera" userId="S::arg3669@ads.northwestern.edu::fc8b707a-b7e9-4f2a-8d71-2d76819b7881" providerId="AD" clId="Web-{3E81E0CF-E582-4D57-5132-0B6C13973CF0}" dt="2023-12-28T17:36:46.257" v="23"/>
          <ac:spMkLst>
            <pc:docMk/>
            <pc:sldMk cId="4179369718" sldId="713"/>
            <ac:spMk id="21" creationId="{D5B0017B-2ECA-49AF-B397-DC140825DF8D}"/>
          </ac:spMkLst>
        </pc:spChg>
        <pc:grpChg chg="add">
          <ac:chgData name="Alana Rivera" userId="S::arg3669@ads.northwestern.edu::fc8b707a-b7e9-4f2a-8d71-2d76819b7881" providerId="AD" clId="Web-{3E81E0CF-E582-4D57-5132-0B6C13973CF0}" dt="2023-12-28T17:36:46.257" v="23"/>
          <ac:grpSpMkLst>
            <pc:docMk/>
            <pc:sldMk cId="4179369718" sldId="713"/>
            <ac:grpSpMk id="16" creationId="{AE1C45F0-260A-458C-96ED-C1F6D2151219}"/>
          </ac:grpSpMkLst>
        </pc:grpChg>
        <pc:picChg chg="del">
          <ac:chgData name="Alana Rivera" userId="S::arg3669@ads.northwestern.edu::fc8b707a-b7e9-4f2a-8d71-2d76819b7881" providerId="AD" clId="Web-{3E81E0CF-E582-4D57-5132-0B6C13973CF0}" dt="2023-12-28T17:28:53.588" v="0"/>
          <ac:picMkLst>
            <pc:docMk/>
            <pc:sldMk cId="4179369718" sldId="713"/>
            <ac:picMk id="7" creationId="{00000000-0000-0000-0000-000000000000}"/>
          </ac:picMkLst>
        </pc:picChg>
        <pc:picChg chg="mod">
          <ac:chgData name="Alana Rivera" userId="S::arg3669@ads.northwestern.edu::fc8b707a-b7e9-4f2a-8d71-2d76819b7881" providerId="AD" clId="Web-{3E81E0CF-E582-4D57-5132-0B6C13973CF0}" dt="2023-12-28T17:37:45.290" v="30" actId="1076"/>
          <ac:picMkLst>
            <pc:docMk/>
            <pc:sldMk cId="4179369718" sldId="713"/>
            <ac:picMk id="8" creationId="{00000000-0000-0000-0000-000000000000}"/>
          </ac:picMkLst>
        </pc:picChg>
        <pc:cxnChg chg="add">
          <ac:chgData name="Alana Rivera" userId="S::arg3669@ads.northwestern.edu::fc8b707a-b7e9-4f2a-8d71-2d76819b7881" providerId="AD" clId="Web-{3E81E0CF-E582-4D57-5132-0B6C13973CF0}" dt="2023-12-28T17:36:46.257" v="23"/>
          <ac:cxnSpMkLst>
            <pc:docMk/>
            <pc:sldMk cId="4179369718" sldId="713"/>
            <ac:cxnSpMk id="23" creationId="{6CF1BAF6-AD41-4082-B212-8A1F9A2E8779}"/>
          </ac:cxnSpMkLst>
        </pc:cxnChg>
      </pc:sldChg>
      <pc:sldChg chg="del">
        <pc:chgData name="Alana Rivera" userId="S::arg3669@ads.northwestern.edu::fc8b707a-b7e9-4f2a-8d71-2d76819b7881" providerId="AD" clId="Web-{3E81E0CF-E582-4D57-5132-0B6C13973CF0}" dt="2023-12-28T17:55:26.411" v="56"/>
        <pc:sldMkLst>
          <pc:docMk/>
          <pc:sldMk cId="1219261171" sldId="716"/>
        </pc:sldMkLst>
      </pc:sldChg>
      <pc:sldChg chg="del">
        <pc:chgData name="Alana Rivera" userId="S::arg3669@ads.northwestern.edu::fc8b707a-b7e9-4f2a-8d71-2d76819b7881" providerId="AD" clId="Web-{3E81E0CF-E582-4D57-5132-0B6C13973CF0}" dt="2023-12-28T20:03:23.760" v="158"/>
        <pc:sldMkLst>
          <pc:docMk/>
          <pc:sldMk cId="4191050799" sldId="717"/>
        </pc:sldMkLst>
      </pc:sldChg>
      <pc:sldChg chg="del">
        <pc:chgData name="Alana Rivera" userId="S::arg3669@ads.northwestern.edu::fc8b707a-b7e9-4f2a-8d71-2d76819b7881" providerId="AD" clId="Web-{3E81E0CF-E582-4D57-5132-0B6C13973CF0}" dt="2023-12-28T20:03:23.760" v="159"/>
        <pc:sldMkLst>
          <pc:docMk/>
          <pc:sldMk cId="920926381" sldId="718"/>
        </pc:sldMkLst>
      </pc:sldChg>
      <pc:sldChg chg="del">
        <pc:chgData name="Alana Rivera" userId="S::arg3669@ads.northwestern.edu::fc8b707a-b7e9-4f2a-8d71-2d76819b7881" providerId="AD" clId="Web-{3E81E0CF-E582-4D57-5132-0B6C13973CF0}" dt="2023-12-28T20:03:23.760" v="160"/>
        <pc:sldMkLst>
          <pc:docMk/>
          <pc:sldMk cId="1181451199" sldId="719"/>
        </pc:sldMkLst>
      </pc:sldChg>
      <pc:sldChg chg="del">
        <pc:chgData name="Alana Rivera" userId="S::arg3669@ads.northwestern.edu::fc8b707a-b7e9-4f2a-8d71-2d76819b7881" providerId="AD" clId="Web-{3E81E0CF-E582-4D57-5132-0B6C13973CF0}" dt="2023-12-28T20:03:23.760" v="161"/>
        <pc:sldMkLst>
          <pc:docMk/>
          <pc:sldMk cId="102026260" sldId="720"/>
        </pc:sldMkLst>
      </pc:sldChg>
      <pc:sldChg chg="del">
        <pc:chgData name="Alana Rivera" userId="S::arg3669@ads.northwestern.edu::fc8b707a-b7e9-4f2a-8d71-2d76819b7881" providerId="AD" clId="Web-{3E81E0CF-E582-4D57-5132-0B6C13973CF0}" dt="2023-12-28T20:03:23.775" v="162"/>
        <pc:sldMkLst>
          <pc:docMk/>
          <pc:sldMk cId="4038851827" sldId="721"/>
        </pc:sldMkLst>
      </pc:sldChg>
      <pc:sldChg chg="del">
        <pc:chgData name="Alana Rivera" userId="S::arg3669@ads.northwestern.edu::fc8b707a-b7e9-4f2a-8d71-2d76819b7881" providerId="AD" clId="Web-{3E81E0CF-E582-4D57-5132-0B6C13973CF0}" dt="2023-12-28T20:03:23.775" v="163"/>
        <pc:sldMkLst>
          <pc:docMk/>
          <pc:sldMk cId="166818738" sldId="722"/>
        </pc:sldMkLst>
      </pc:sldChg>
      <pc:sldChg chg="del">
        <pc:chgData name="Alana Rivera" userId="S::arg3669@ads.northwestern.edu::fc8b707a-b7e9-4f2a-8d71-2d76819b7881" providerId="AD" clId="Web-{3E81E0CF-E582-4D57-5132-0B6C13973CF0}" dt="2023-12-28T20:03:23.775" v="164"/>
        <pc:sldMkLst>
          <pc:docMk/>
          <pc:sldMk cId="97208790" sldId="723"/>
        </pc:sldMkLst>
      </pc:sldChg>
      <pc:sldChg chg="del">
        <pc:chgData name="Alana Rivera" userId="S::arg3669@ads.northwestern.edu::fc8b707a-b7e9-4f2a-8d71-2d76819b7881" providerId="AD" clId="Web-{3E81E0CF-E582-4D57-5132-0B6C13973CF0}" dt="2023-12-28T20:03:23.791" v="165"/>
        <pc:sldMkLst>
          <pc:docMk/>
          <pc:sldMk cId="2422191514" sldId="724"/>
        </pc:sldMkLst>
      </pc:sldChg>
      <pc:sldChg chg="del">
        <pc:chgData name="Alana Rivera" userId="S::arg3669@ads.northwestern.edu::fc8b707a-b7e9-4f2a-8d71-2d76819b7881" providerId="AD" clId="Web-{3E81E0CF-E582-4D57-5132-0B6C13973CF0}" dt="2023-12-28T20:03:23.791" v="166"/>
        <pc:sldMkLst>
          <pc:docMk/>
          <pc:sldMk cId="3458386910" sldId="725"/>
        </pc:sldMkLst>
      </pc:sldChg>
      <pc:sldChg chg="del">
        <pc:chgData name="Alana Rivera" userId="S::arg3669@ads.northwestern.edu::fc8b707a-b7e9-4f2a-8d71-2d76819b7881" providerId="AD" clId="Web-{3E81E0CF-E582-4D57-5132-0B6C13973CF0}" dt="2023-12-28T20:03:23.791" v="167"/>
        <pc:sldMkLst>
          <pc:docMk/>
          <pc:sldMk cId="1390059426" sldId="726"/>
        </pc:sldMkLst>
      </pc:sldChg>
      <pc:sldChg chg="del">
        <pc:chgData name="Alana Rivera" userId="S::arg3669@ads.northwestern.edu::fc8b707a-b7e9-4f2a-8d71-2d76819b7881" providerId="AD" clId="Web-{3E81E0CF-E582-4D57-5132-0B6C13973CF0}" dt="2023-12-28T20:03:23.791" v="168"/>
        <pc:sldMkLst>
          <pc:docMk/>
          <pc:sldMk cId="3339906105" sldId="727"/>
        </pc:sldMkLst>
      </pc:sldChg>
      <pc:sldChg chg="del">
        <pc:chgData name="Alana Rivera" userId="S::arg3669@ads.northwestern.edu::fc8b707a-b7e9-4f2a-8d71-2d76819b7881" providerId="AD" clId="Web-{3E81E0CF-E582-4D57-5132-0B6C13973CF0}" dt="2023-12-28T20:03:23.791" v="169"/>
        <pc:sldMkLst>
          <pc:docMk/>
          <pc:sldMk cId="2917591221" sldId="728"/>
        </pc:sldMkLst>
      </pc:sldChg>
      <pc:sldChg chg="del">
        <pc:chgData name="Alana Rivera" userId="S::arg3669@ads.northwestern.edu::fc8b707a-b7e9-4f2a-8d71-2d76819b7881" providerId="AD" clId="Web-{3E81E0CF-E582-4D57-5132-0B6C13973CF0}" dt="2023-12-28T20:03:23.807" v="170"/>
        <pc:sldMkLst>
          <pc:docMk/>
          <pc:sldMk cId="3429336150" sldId="729"/>
        </pc:sldMkLst>
      </pc:sldChg>
      <pc:sldChg chg="del">
        <pc:chgData name="Alana Rivera" userId="S::arg3669@ads.northwestern.edu::fc8b707a-b7e9-4f2a-8d71-2d76819b7881" providerId="AD" clId="Web-{3E81E0CF-E582-4D57-5132-0B6C13973CF0}" dt="2023-12-28T20:03:23.807" v="171"/>
        <pc:sldMkLst>
          <pc:docMk/>
          <pc:sldMk cId="1617559145" sldId="730"/>
        </pc:sldMkLst>
      </pc:sldChg>
      <pc:sldChg chg="del">
        <pc:chgData name="Alana Rivera" userId="S::arg3669@ads.northwestern.edu::fc8b707a-b7e9-4f2a-8d71-2d76819b7881" providerId="AD" clId="Web-{3E81E0CF-E582-4D57-5132-0B6C13973CF0}" dt="2023-12-28T20:03:23.807" v="172"/>
        <pc:sldMkLst>
          <pc:docMk/>
          <pc:sldMk cId="2888392633" sldId="731"/>
        </pc:sldMkLst>
      </pc:sldChg>
      <pc:sldChg chg="del">
        <pc:chgData name="Alana Rivera" userId="S::arg3669@ads.northwestern.edu::fc8b707a-b7e9-4f2a-8d71-2d76819b7881" providerId="AD" clId="Web-{3E81E0CF-E582-4D57-5132-0B6C13973CF0}" dt="2023-12-28T20:03:23.807" v="173"/>
        <pc:sldMkLst>
          <pc:docMk/>
          <pc:sldMk cId="1046854343" sldId="732"/>
        </pc:sldMkLst>
      </pc:sldChg>
      <pc:sldChg chg="del">
        <pc:chgData name="Alana Rivera" userId="S::arg3669@ads.northwestern.edu::fc8b707a-b7e9-4f2a-8d71-2d76819b7881" providerId="AD" clId="Web-{3E81E0CF-E582-4D57-5132-0B6C13973CF0}" dt="2023-12-28T20:03:23.807" v="174"/>
        <pc:sldMkLst>
          <pc:docMk/>
          <pc:sldMk cId="1800188643" sldId="733"/>
        </pc:sldMkLst>
      </pc:sldChg>
      <pc:sldChg chg="del">
        <pc:chgData name="Alana Rivera" userId="S::arg3669@ads.northwestern.edu::fc8b707a-b7e9-4f2a-8d71-2d76819b7881" providerId="AD" clId="Web-{3E81E0CF-E582-4D57-5132-0B6C13973CF0}" dt="2023-12-28T20:03:23.807" v="175"/>
        <pc:sldMkLst>
          <pc:docMk/>
          <pc:sldMk cId="2965389356" sldId="734"/>
        </pc:sldMkLst>
      </pc:sldChg>
      <pc:sldChg chg="del">
        <pc:chgData name="Alana Rivera" userId="S::arg3669@ads.northwestern.edu::fc8b707a-b7e9-4f2a-8d71-2d76819b7881" providerId="AD" clId="Web-{3E81E0CF-E582-4D57-5132-0B6C13973CF0}" dt="2023-12-28T20:03:23.822" v="177"/>
        <pc:sldMkLst>
          <pc:docMk/>
          <pc:sldMk cId="2012107243" sldId="735"/>
        </pc:sldMkLst>
      </pc:sldChg>
      <pc:sldChg chg="del">
        <pc:chgData name="Alana Rivera" userId="S::arg3669@ads.northwestern.edu::fc8b707a-b7e9-4f2a-8d71-2d76819b7881" providerId="AD" clId="Web-{3E81E0CF-E582-4D57-5132-0B6C13973CF0}" dt="2023-12-28T20:03:24.072" v="178"/>
        <pc:sldMkLst>
          <pc:docMk/>
          <pc:sldMk cId="1141813547" sldId="737"/>
        </pc:sldMkLst>
      </pc:sldChg>
      <pc:sldChg chg="del">
        <pc:chgData name="Alana Rivera" userId="S::arg3669@ads.northwestern.edu::fc8b707a-b7e9-4f2a-8d71-2d76819b7881" providerId="AD" clId="Web-{3E81E0CF-E582-4D57-5132-0B6C13973CF0}" dt="2023-12-28T20:03:23.432" v="155"/>
        <pc:sldMkLst>
          <pc:docMk/>
          <pc:sldMk cId="3838522428" sldId="741"/>
        </pc:sldMkLst>
      </pc:sldChg>
      <pc:sldChg chg="del">
        <pc:chgData name="Alana Rivera" userId="S::arg3669@ads.northwestern.edu::fc8b707a-b7e9-4f2a-8d71-2d76819b7881" providerId="AD" clId="Web-{3E81E0CF-E582-4D57-5132-0B6C13973CF0}" dt="2023-12-28T20:03:23.760" v="157"/>
        <pc:sldMkLst>
          <pc:docMk/>
          <pc:sldMk cId="2759565514" sldId="742"/>
        </pc:sldMkLst>
      </pc:sldChg>
      <pc:sldChg chg="del">
        <pc:chgData name="Alana Rivera" userId="S::arg3669@ads.northwestern.edu::fc8b707a-b7e9-4f2a-8d71-2d76819b7881" providerId="AD" clId="Web-{3E81E0CF-E582-4D57-5132-0B6C13973CF0}" dt="2023-12-28T20:03:23.744" v="156"/>
        <pc:sldMkLst>
          <pc:docMk/>
          <pc:sldMk cId="1077647041" sldId="743"/>
        </pc:sldMkLst>
      </pc:sldChg>
      <pc:sldChg chg="del">
        <pc:chgData name="Alana Rivera" userId="S::arg3669@ads.northwestern.edu::fc8b707a-b7e9-4f2a-8d71-2d76819b7881" providerId="AD" clId="Web-{3E81E0CF-E582-4D57-5132-0B6C13973CF0}" dt="2023-12-28T20:34:19.430" v="309"/>
        <pc:sldMkLst>
          <pc:docMk/>
          <pc:sldMk cId="2424722352" sldId="744"/>
        </pc:sldMkLst>
      </pc:sldChg>
      <pc:sldChg chg="del">
        <pc:chgData name="Alana Rivera" userId="S::arg3669@ads.northwestern.edu::fc8b707a-b7e9-4f2a-8d71-2d76819b7881" providerId="AD" clId="Web-{3E81E0CF-E582-4D57-5132-0B6C13973CF0}" dt="2023-12-28T17:56:02.569" v="60"/>
        <pc:sldMkLst>
          <pc:docMk/>
          <pc:sldMk cId="1758158855" sldId="747"/>
        </pc:sldMkLst>
      </pc:sldChg>
      <pc:sldChg chg="del">
        <pc:chgData name="Alana Rivera" userId="S::arg3669@ads.northwestern.edu::fc8b707a-b7e9-4f2a-8d71-2d76819b7881" providerId="AD" clId="Web-{3E81E0CF-E582-4D57-5132-0B6C13973CF0}" dt="2023-12-28T20:03:23.822" v="176"/>
        <pc:sldMkLst>
          <pc:docMk/>
          <pc:sldMk cId="2760953721" sldId="749"/>
        </pc:sldMkLst>
      </pc:sldChg>
      <pc:sldChg chg="modSp new">
        <pc:chgData name="Alana Rivera" userId="S::arg3669@ads.northwestern.edu::fc8b707a-b7e9-4f2a-8d71-2d76819b7881" providerId="AD" clId="Web-{3E81E0CF-E582-4D57-5132-0B6C13973CF0}" dt="2023-12-28T17:39:38.902" v="53" actId="20577"/>
        <pc:sldMkLst>
          <pc:docMk/>
          <pc:sldMk cId="3727043068" sldId="751"/>
        </pc:sldMkLst>
        <pc:spChg chg="mod">
          <ac:chgData name="Alana Rivera" userId="S::arg3669@ads.northwestern.edu::fc8b707a-b7e9-4f2a-8d71-2d76819b7881" providerId="AD" clId="Web-{3E81E0CF-E582-4D57-5132-0B6C13973CF0}" dt="2023-12-28T17:38:55.698" v="50" actId="20577"/>
          <ac:spMkLst>
            <pc:docMk/>
            <pc:sldMk cId="3727043068" sldId="751"/>
            <ac:spMk id="2" creationId="{3C038A15-F437-68D4-81DF-DBC477C993DE}"/>
          </ac:spMkLst>
        </pc:spChg>
        <pc:spChg chg="mod">
          <ac:chgData name="Alana Rivera" userId="S::arg3669@ads.northwestern.edu::fc8b707a-b7e9-4f2a-8d71-2d76819b7881" providerId="AD" clId="Web-{3E81E0CF-E582-4D57-5132-0B6C13973CF0}" dt="2023-12-28T17:39:38.902" v="53" actId="20577"/>
          <ac:spMkLst>
            <pc:docMk/>
            <pc:sldMk cId="3727043068" sldId="751"/>
            <ac:spMk id="3" creationId="{8DE65E7E-52D5-824B-D062-E5E6FF08565D}"/>
          </ac:spMkLst>
        </pc:spChg>
      </pc:sldChg>
      <pc:sldChg chg="modSp add ord replId">
        <pc:chgData name="Alana Rivera" userId="S::arg3669@ads.northwestern.edu::fc8b707a-b7e9-4f2a-8d71-2d76819b7881" providerId="AD" clId="Web-{3E81E0CF-E582-4D57-5132-0B6C13973CF0}" dt="2023-12-28T20:15:05.954" v="236" actId="20577"/>
        <pc:sldMkLst>
          <pc:docMk/>
          <pc:sldMk cId="1648191600" sldId="752"/>
        </pc:sldMkLst>
        <pc:spChg chg="mod">
          <ac:chgData name="Alana Rivera" userId="S::arg3669@ads.northwestern.edu::fc8b707a-b7e9-4f2a-8d71-2d76819b7881" providerId="AD" clId="Web-{3E81E0CF-E582-4D57-5132-0B6C13973CF0}" dt="2023-12-28T20:15:05.954" v="236" actId="20577"/>
          <ac:spMkLst>
            <pc:docMk/>
            <pc:sldMk cId="1648191600" sldId="752"/>
            <ac:spMk id="2" creationId="{15BED8CA-F754-E03C-D9CA-FEC2EE4D194D}"/>
          </ac:spMkLst>
        </pc:spChg>
      </pc:sldChg>
      <pc:sldChg chg="new del">
        <pc:chgData name="Alana Rivera" userId="S::arg3669@ads.northwestern.edu::fc8b707a-b7e9-4f2a-8d71-2d76819b7881" providerId="AD" clId="Web-{3E81E0CF-E582-4D57-5132-0B6C13973CF0}" dt="2023-12-28T18:16:31.930" v="99"/>
        <pc:sldMkLst>
          <pc:docMk/>
          <pc:sldMk cId="3279171112" sldId="753"/>
        </pc:sldMkLst>
      </pc:sldChg>
      <pc:sldChg chg="addSp modSp new del mod setBg">
        <pc:chgData name="Alana Rivera" userId="S::arg3669@ads.northwestern.edu::fc8b707a-b7e9-4f2a-8d71-2d76819b7881" providerId="AD" clId="Web-{3E81E0CF-E582-4D57-5132-0B6C13973CF0}" dt="2023-12-28T20:16:52.427" v="241"/>
        <pc:sldMkLst>
          <pc:docMk/>
          <pc:sldMk cId="3026235474" sldId="754"/>
        </pc:sldMkLst>
        <pc:spChg chg="mod">
          <ac:chgData name="Alana Rivera" userId="S::arg3669@ads.northwestern.edu::fc8b707a-b7e9-4f2a-8d71-2d76819b7881" providerId="AD" clId="Web-{3E81E0CF-E582-4D57-5132-0B6C13973CF0}" dt="2023-12-28T18:16:08.679" v="96" actId="1076"/>
          <ac:spMkLst>
            <pc:docMk/>
            <pc:sldMk cId="3026235474" sldId="754"/>
            <ac:spMk id="2" creationId="{034159DB-6549-CDBE-94A4-9560F62347FA}"/>
          </ac:spMkLst>
        </pc:spChg>
        <pc:spChg chg="mod">
          <ac:chgData name="Alana Rivera" userId="S::arg3669@ads.northwestern.edu::fc8b707a-b7e9-4f2a-8d71-2d76819b7881" providerId="AD" clId="Web-{3E81E0CF-E582-4D57-5132-0B6C13973CF0}" dt="2023-12-28T18:16:20.648" v="98" actId="20577"/>
          <ac:spMkLst>
            <pc:docMk/>
            <pc:sldMk cId="3026235474" sldId="754"/>
            <ac:spMk id="3" creationId="{3846A8C3-E3A7-FFD9-66D0-794C657EE456}"/>
          </ac:spMkLst>
        </pc:spChg>
        <pc:spChg chg="mod ord">
          <ac:chgData name="Alana Rivera" userId="S::arg3669@ads.northwestern.edu::fc8b707a-b7e9-4f2a-8d71-2d76819b7881" providerId="AD" clId="Web-{3E81E0CF-E582-4D57-5132-0B6C13973CF0}" dt="2023-12-28T18:15:44.538" v="93"/>
          <ac:spMkLst>
            <pc:docMk/>
            <pc:sldMk cId="3026235474" sldId="754"/>
            <ac:spMk id="4" creationId="{E7976E66-E5F5-49CD-B29C-E88DB1406A4F}"/>
          </ac:spMkLst>
        </pc:spChg>
        <pc:spChg chg="mod ord">
          <ac:chgData name="Alana Rivera" userId="S::arg3669@ads.northwestern.edu::fc8b707a-b7e9-4f2a-8d71-2d76819b7881" providerId="AD" clId="Web-{3E81E0CF-E582-4D57-5132-0B6C13973CF0}" dt="2023-12-28T18:15:44.538" v="93"/>
          <ac:spMkLst>
            <pc:docMk/>
            <pc:sldMk cId="3026235474" sldId="754"/>
            <ac:spMk id="5" creationId="{EAB01E47-1A0D-ECD9-9045-C6DBA08AC91A}"/>
          </ac:spMkLst>
        </pc:spChg>
        <pc:spChg chg="add">
          <ac:chgData name="Alana Rivera" userId="S::arg3669@ads.northwestern.edu::fc8b707a-b7e9-4f2a-8d71-2d76819b7881" providerId="AD" clId="Web-{3E81E0CF-E582-4D57-5132-0B6C13973CF0}" dt="2023-12-28T18:15:44.538" v="93"/>
          <ac:spMkLst>
            <pc:docMk/>
            <pc:sldMk cId="3026235474" sldId="754"/>
            <ac:spMk id="11" creationId="{F13C74B1-5B17-4795-BED0-7140497B445A}"/>
          </ac:spMkLst>
        </pc:spChg>
        <pc:spChg chg="add">
          <ac:chgData name="Alana Rivera" userId="S::arg3669@ads.northwestern.edu::fc8b707a-b7e9-4f2a-8d71-2d76819b7881" providerId="AD" clId="Web-{3E81E0CF-E582-4D57-5132-0B6C13973CF0}" dt="2023-12-28T18:15:44.538" v="93"/>
          <ac:spMkLst>
            <pc:docMk/>
            <pc:sldMk cId="3026235474" sldId="754"/>
            <ac:spMk id="13" creationId="{D4974D33-8DC5-464E-8C6D-BE58F0669C17}"/>
          </ac:spMkLst>
        </pc:spChg>
        <pc:picChg chg="add mod">
          <ac:chgData name="Alana Rivera" userId="S::arg3669@ads.northwestern.edu::fc8b707a-b7e9-4f2a-8d71-2d76819b7881" providerId="AD" clId="Web-{3E81E0CF-E582-4D57-5132-0B6C13973CF0}" dt="2023-12-28T18:15:44.538" v="93"/>
          <ac:picMkLst>
            <pc:docMk/>
            <pc:sldMk cId="3026235474" sldId="754"/>
            <ac:picMk id="6" creationId="{E980A6D2-0325-7DA8-CD0A-30BC07B65A5C}"/>
          </ac:picMkLst>
        </pc:picChg>
      </pc:sldChg>
      <pc:sldChg chg="addSp delSp modSp new del">
        <pc:chgData name="Alana Rivera" userId="S::arg3669@ads.northwestern.edu::fc8b707a-b7e9-4f2a-8d71-2d76819b7881" providerId="AD" clId="Web-{3E81E0CF-E582-4D57-5132-0B6C13973CF0}" dt="2023-12-28T20:16:52.427" v="240"/>
        <pc:sldMkLst>
          <pc:docMk/>
          <pc:sldMk cId="2330609099" sldId="755"/>
        </pc:sldMkLst>
        <pc:spChg chg="mod">
          <ac:chgData name="Alana Rivera" userId="S::arg3669@ads.northwestern.edu::fc8b707a-b7e9-4f2a-8d71-2d76819b7881" providerId="AD" clId="Web-{3E81E0CF-E582-4D57-5132-0B6C13973CF0}" dt="2023-12-28T18:23:33.663" v="108" actId="20577"/>
          <ac:spMkLst>
            <pc:docMk/>
            <pc:sldMk cId="2330609099" sldId="755"/>
            <ac:spMk id="2" creationId="{5A3C7BFC-0CCC-3C1A-3FA3-98145A949055}"/>
          </ac:spMkLst>
        </pc:spChg>
        <pc:spChg chg="mod">
          <ac:chgData name="Alana Rivera" userId="S::arg3669@ads.northwestern.edu::fc8b707a-b7e9-4f2a-8d71-2d76819b7881" providerId="AD" clId="Web-{3E81E0CF-E582-4D57-5132-0B6C13973CF0}" dt="2023-12-28T19:57:52.701" v="139" actId="1076"/>
          <ac:spMkLst>
            <pc:docMk/>
            <pc:sldMk cId="2330609099" sldId="755"/>
            <ac:spMk id="3" creationId="{C20FF2E5-1A48-DE57-9A64-F917A931DCA8}"/>
          </ac:spMkLst>
        </pc:spChg>
        <pc:spChg chg="add mod">
          <ac:chgData name="Alana Rivera" userId="S::arg3669@ads.northwestern.edu::fc8b707a-b7e9-4f2a-8d71-2d76819b7881" providerId="AD" clId="Web-{3E81E0CF-E582-4D57-5132-0B6C13973CF0}" dt="2023-12-28T19:58:21.515" v="144" actId="1076"/>
          <ac:spMkLst>
            <pc:docMk/>
            <pc:sldMk cId="2330609099" sldId="755"/>
            <ac:spMk id="7" creationId="{A942DC6C-F66D-94F9-D985-9B736DF49FA2}"/>
          </ac:spMkLst>
        </pc:spChg>
        <pc:spChg chg="add mod">
          <ac:chgData name="Alana Rivera" userId="S::arg3669@ads.northwestern.edu::fc8b707a-b7e9-4f2a-8d71-2d76819b7881" providerId="AD" clId="Web-{3E81E0CF-E582-4D57-5132-0B6C13973CF0}" dt="2023-12-28T19:58:21.562" v="145" actId="1076"/>
          <ac:spMkLst>
            <pc:docMk/>
            <pc:sldMk cId="2330609099" sldId="755"/>
            <ac:spMk id="8" creationId="{D8C816BB-EE4A-48F8-6A8A-CBEBE799E5F6}"/>
          </ac:spMkLst>
        </pc:spChg>
        <pc:spChg chg="add del">
          <ac:chgData name="Alana Rivera" userId="S::arg3669@ads.northwestern.edu::fc8b707a-b7e9-4f2a-8d71-2d76819b7881" providerId="AD" clId="Web-{3E81E0CF-E582-4D57-5132-0B6C13973CF0}" dt="2023-12-28T19:01:55.191" v="136"/>
          <ac:spMkLst>
            <pc:docMk/>
            <pc:sldMk cId="2330609099" sldId="755"/>
            <ac:spMk id="10" creationId="{143BF4FD-2E55-8444-A34A-74A186A84F91}"/>
          </ac:spMkLst>
        </pc:spChg>
        <pc:picChg chg="add mod">
          <ac:chgData name="Alana Rivera" userId="S::arg3669@ads.northwestern.edu::fc8b707a-b7e9-4f2a-8d71-2d76819b7881" providerId="AD" clId="Web-{3E81E0CF-E582-4D57-5132-0B6C13973CF0}" dt="2023-12-28T19:58:21.452" v="143" actId="1076"/>
          <ac:picMkLst>
            <pc:docMk/>
            <pc:sldMk cId="2330609099" sldId="755"/>
            <ac:picMk id="6" creationId="{BD863734-3684-9CAB-7C57-2E74603A9287}"/>
          </ac:picMkLst>
        </pc:picChg>
        <pc:picChg chg="add del mod">
          <ac:chgData name="Alana Rivera" userId="S::arg3669@ads.northwestern.edu::fc8b707a-b7e9-4f2a-8d71-2d76819b7881" providerId="AD" clId="Web-{3E81E0CF-E582-4D57-5132-0B6C13973CF0}" dt="2023-12-28T19:58:32.359" v="146"/>
          <ac:picMkLst>
            <pc:docMk/>
            <pc:sldMk cId="2330609099" sldId="755"/>
            <ac:picMk id="9" creationId="{740A9BB3-5B2A-DFA3-26B9-2A3182FE8232}"/>
          </ac:picMkLst>
        </pc:picChg>
      </pc:sldChg>
      <pc:sldChg chg="add del replId">
        <pc:chgData name="Alana Rivera" userId="S::arg3669@ads.northwestern.edu::fc8b707a-b7e9-4f2a-8d71-2d76819b7881" providerId="AD" clId="Web-{3E81E0CF-E582-4D57-5132-0B6C13973CF0}" dt="2023-12-28T20:16:52.427" v="242"/>
        <pc:sldMkLst>
          <pc:docMk/>
          <pc:sldMk cId="2525321083" sldId="756"/>
        </pc:sldMkLst>
      </pc:sldChg>
      <pc:sldChg chg="add del replId">
        <pc:chgData name="Alana Rivera" userId="S::arg3669@ads.northwestern.edu::fc8b707a-b7e9-4f2a-8d71-2d76819b7881" providerId="AD" clId="Web-{3E81E0CF-E582-4D57-5132-0B6C13973CF0}" dt="2023-12-28T20:16:22.785" v="239"/>
        <pc:sldMkLst>
          <pc:docMk/>
          <pc:sldMk cId="3610175026" sldId="757"/>
        </pc:sldMkLst>
      </pc:sldChg>
      <pc:sldChg chg="addSp modSp new mod setBg">
        <pc:chgData name="Alana Rivera" userId="S::arg3669@ads.northwestern.edu::fc8b707a-b7e9-4f2a-8d71-2d76819b7881" providerId="AD" clId="Web-{3E81E0CF-E582-4D57-5132-0B6C13973CF0}" dt="2023-12-28T20:10:03.492" v="217" actId="20577"/>
        <pc:sldMkLst>
          <pc:docMk/>
          <pc:sldMk cId="1190154492" sldId="758"/>
        </pc:sldMkLst>
        <pc:spChg chg="mod">
          <ac:chgData name="Alana Rivera" userId="S::arg3669@ads.northwestern.edu::fc8b707a-b7e9-4f2a-8d71-2d76819b7881" providerId="AD" clId="Web-{3E81E0CF-E582-4D57-5132-0B6C13973CF0}" dt="2023-12-28T20:09:39.209" v="211"/>
          <ac:spMkLst>
            <pc:docMk/>
            <pc:sldMk cId="1190154492" sldId="758"/>
            <ac:spMk id="2" creationId="{B0C85E68-E425-25E8-B412-38FE57A548E8}"/>
          </ac:spMkLst>
        </pc:spChg>
        <pc:spChg chg="mod">
          <ac:chgData name="Alana Rivera" userId="S::arg3669@ads.northwestern.edu::fc8b707a-b7e9-4f2a-8d71-2d76819b7881" providerId="AD" clId="Web-{3E81E0CF-E582-4D57-5132-0B6C13973CF0}" dt="2023-12-28T20:10:03.492" v="217" actId="20577"/>
          <ac:spMkLst>
            <pc:docMk/>
            <pc:sldMk cId="1190154492" sldId="758"/>
            <ac:spMk id="3" creationId="{34B6AF32-4323-7B5C-9857-C6582CF10CDF}"/>
          </ac:spMkLst>
        </pc:spChg>
        <pc:spChg chg="mod ord">
          <ac:chgData name="Alana Rivera" userId="S::arg3669@ads.northwestern.edu::fc8b707a-b7e9-4f2a-8d71-2d76819b7881" providerId="AD" clId="Web-{3E81E0CF-E582-4D57-5132-0B6C13973CF0}" dt="2023-12-28T20:09:39.209" v="211"/>
          <ac:spMkLst>
            <pc:docMk/>
            <pc:sldMk cId="1190154492" sldId="758"/>
            <ac:spMk id="4" creationId="{731D407B-9DCA-7CFB-384C-930FEA6C9655}"/>
          </ac:spMkLst>
        </pc:spChg>
        <pc:spChg chg="mod ord">
          <ac:chgData name="Alana Rivera" userId="S::arg3669@ads.northwestern.edu::fc8b707a-b7e9-4f2a-8d71-2d76819b7881" providerId="AD" clId="Web-{3E81E0CF-E582-4D57-5132-0B6C13973CF0}" dt="2023-12-28T20:09:39.209" v="211"/>
          <ac:spMkLst>
            <pc:docMk/>
            <pc:sldMk cId="1190154492" sldId="758"/>
            <ac:spMk id="5" creationId="{445DA9CE-D94D-1338-0208-AABBD67843FD}"/>
          </ac:spMkLst>
        </pc:spChg>
        <pc:spChg chg="add">
          <ac:chgData name="Alana Rivera" userId="S::arg3669@ads.northwestern.edu::fc8b707a-b7e9-4f2a-8d71-2d76819b7881" providerId="AD" clId="Web-{3E81E0CF-E582-4D57-5132-0B6C13973CF0}" dt="2023-12-28T20:09:39.209" v="211"/>
          <ac:spMkLst>
            <pc:docMk/>
            <pc:sldMk cId="1190154492" sldId="758"/>
            <ac:spMk id="11" creationId="{1A95671B-3CC6-4792-9114-B74FAEA224E6}"/>
          </ac:spMkLst>
        </pc:spChg>
        <pc:picChg chg="add mod">
          <ac:chgData name="Alana Rivera" userId="S::arg3669@ads.northwestern.edu::fc8b707a-b7e9-4f2a-8d71-2d76819b7881" providerId="AD" clId="Web-{3E81E0CF-E582-4D57-5132-0B6C13973CF0}" dt="2023-12-28T20:09:48.257" v="213" actId="1076"/>
          <ac:picMkLst>
            <pc:docMk/>
            <pc:sldMk cId="1190154492" sldId="758"/>
            <ac:picMk id="6" creationId="{34AF0CA7-50BF-675D-7E8F-BB046F8A7472}"/>
          </ac:picMkLst>
        </pc:picChg>
      </pc:sldChg>
      <pc:sldChg chg="addSp delSp modSp new">
        <pc:chgData name="Alana Rivera" userId="S::arg3669@ads.northwestern.edu::fc8b707a-b7e9-4f2a-8d71-2d76819b7881" providerId="AD" clId="Web-{3E81E0CF-E582-4D57-5132-0B6C13973CF0}" dt="2023-12-28T20:48:20.239" v="383"/>
        <pc:sldMkLst>
          <pc:docMk/>
          <pc:sldMk cId="756675242" sldId="759"/>
        </pc:sldMkLst>
        <pc:spChg chg="mod">
          <ac:chgData name="Alana Rivera" userId="S::arg3669@ads.northwestern.edu::fc8b707a-b7e9-4f2a-8d71-2d76819b7881" providerId="AD" clId="Web-{3E81E0CF-E582-4D57-5132-0B6C13973CF0}" dt="2023-12-28T20:19:14.369" v="246"/>
          <ac:spMkLst>
            <pc:docMk/>
            <pc:sldMk cId="756675242" sldId="759"/>
            <ac:spMk id="2" creationId="{6659FA61-332B-9147-CBEF-669C83839D2A}"/>
          </ac:spMkLst>
        </pc:spChg>
        <pc:spChg chg="del">
          <ac:chgData name="Alana Rivera" userId="S::arg3669@ads.northwestern.edu::fc8b707a-b7e9-4f2a-8d71-2d76819b7881" providerId="AD" clId="Web-{3E81E0CF-E582-4D57-5132-0B6C13973CF0}" dt="2023-12-28T20:11:46.229" v="223"/>
          <ac:spMkLst>
            <pc:docMk/>
            <pc:sldMk cId="756675242" sldId="759"/>
            <ac:spMk id="3" creationId="{12858531-1FAE-1E7E-429F-7D0B8D90599B}"/>
          </ac:spMkLst>
        </pc:spChg>
        <pc:spChg chg="add mod">
          <ac:chgData name="Alana Rivera" userId="S::arg3669@ads.northwestern.edu::fc8b707a-b7e9-4f2a-8d71-2d76819b7881" providerId="AD" clId="Web-{3E81E0CF-E582-4D57-5132-0B6C13973CF0}" dt="2023-12-28T20:48:20.239" v="383"/>
          <ac:spMkLst>
            <pc:docMk/>
            <pc:sldMk cId="756675242" sldId="759"/>
            <ac:spMk id="7" creationId="{AE61B84F-62BA-9F35-1E68-ADB14A45DC6E}"/>
          </ac:spMkLst>
        </pc:spChg>
        <pc:picChg chg="add mod ord">
          <ac:chgData name="Alana Rivera" userId="S::arg3669@ads.northwestern.edu::fc8b707a-b7e9-4f2a-8d71-2d76819b7881" providerId="AD" clId="Web-{3E81E0CF-E582-4D57-5132-0B6C13973CF0}" dt="2023-12-28T20:11:50.776" v="224" actId="1076"/>
          <ac:picMkLst>
            <pc:docMk/>
            <pc:sldMk cId="756675242" sldId="759"/>
            <ac:picMk id="6" creationId="{AA0A5014-B86C-03A4-2B39-1218D9BF9424}"/>
          </ac:picMkLst>
        </pc:picChg>
      </pc:sldChg>
      <pc:sldChg chg="addSp delSp modSp new mod setBg">
        <pc:chgData name="Alana Rivera" userId="S::arg3669@ads.northwestern.edu::fc8b707a-b7e9-4f2a-8d71-2d76819b7881" providerId="AD" clId="Web-{3E81E0CF-E582-4D57-5132-0B6C13973CF0}" dt="2023-12-28T20:14:43.719" v="235" actId="20577"/>
        <pc:sldMkLst>
          <pc:docMk/>
          <pc:sldMk cId="1323624667" sldId="760"/>
        </pc:sldMkLst>
        <pc:spChg chg="mod ord">
          <ac:chgData name="Alana Rivera" userId="S::arg3669@ads.northwestern.edu::fc8b707a-b7e9-4f2a-8d71-2d76819b7881" providerId="AD" clId="Web-{3E81E0CF-E582-4D57-5132-0B6C13973CF0}" dt="2023-12-28T20:14:43.719" v="235" actId="20577"/>
          <ac:spMkLst>
            <pc:docMk/>
            <pc:sldMk cId="1323624667" sldId="760"/>
            <ac:spMk id="2" creationId="{F6235EBB-D9A1-2612-4FF2-345127488ED5}"/>
          </ac:spMkLst>
        </pc:spChg>
        <pc:spChg chg="del">
          <ac:chgData name="Alana Rivera" userId="S::arg3669@ads.northwestern.edu::fc8b707a-b7e9-4f2a-8d71-2d76819b7881" providerId="AD" clId="Web-{3E81E0CF-E582-4D57-5132-0B6C13973CF0}" dt="2023-12-28T20:14:24.328" v="233"/>
          <ac:spMkLst>
            <pc:docMk/>
            <pc:sldMk cId="1323624667" sldId="760"/>
            <ac:spMk id="3" creationId="{DB5C4B4F-F19A-BFB2-92EE-2AF9241CDF39}"/>
          </ac:spMkLst>
        </pc:spChg>
        <pc:spChg chg="mod ord">
          <ac:chgData name="Alana Rivera" userId="S::arg3669@ads.northwestern.edu::fc8b707a-b7e9-4f2a-8d71-2d76819b7881" providerId="AD" clId="Web-{3E81E0CF-E582-4D57-5132-0B6C13973CF0}" dt="2023-12-28T20:14:31" v="234"/>
          <ac:spMkLst>
            <pc:docMk/>
            <pc:sldMk cId="1323624667" sldId="760"/>
            <ac:spMk id="4" creationId="{FD0B2B5C-5571-4663-8425-BE77F226F2A5}"/>
          </ac:spMkLst>
        </pc:spChg>
        <pc:spChg chg="mod">
          <ac:chgData name="Alana Rivera" userId="S::arg3669@ads.northwestern.edu::fc8b707a-b7e9-4f2a-8d71-2d76819b7881" providerId="AD" clId="Web-{3E81E0CF-E582-4D57-5132-0B6C13973CF0}" dt="2023-12-28T20:14:31" v="234"/>
          <ac:spMkLst>
            <pc:docMk/>
            <pc:sldMk cId="1323624667" sldId="760"/>
            <ac:spMk id="5" creationId="{7EBF76B5-564B-1605-AA62-4B457995CC4B}"/>
          </ac:spMkLst>
        </pc:spChg>
        <pc:spChg chg="add">
          <ac:chgData name="Alana Rivera" userId="S::arg3669@ads.northwestern.edu::fc8b707a-b7e9-4f2a-8d71-2d76819b7881" providerId="AD" clId="Web-{3E81E0CF-E582-4D57-5132-0B6C13973CF0}" dt="2023-12-28T20:14:31" v="234"/>
          <ac:spMkLst>
            <pc:docMk/>
            <pc:sldMk cId="1323624667" sldId="760"/>
            <ac:spMk id="11" creationId="{37C89E4B-3C9F-44B9-8B86-D9E3D112D8EC}"/>
          </ac:spMkLst>
        </pc:spChg>
        <pc:picChg chg="add mod ord">
          <ac:chgData name="Alana Rivera" userId="S::arg3669@ads.northwestern.edu::fc8b707a-b7e9-4f2a-8d71-2d76819b7881" providerId="AD" clId="Web-{3E81E0CF-E582-4D57-5132-0B6C13973CF0}" dt="2023-12-28T20:14:31" v="234"/>
          <ac:picMkLst>
            <pc:docMk/>
            <pc:sldMk cId="1323624667" sldId="760"/>
            <ac:picMk id="6" creationId="{5C4A6469-2D7A-B4A3-0937-8008F2A6F29A}"/>
          </ac:picMkLst>
        </pc:picChg>
        <pc:cxnChg chg="add">
          <ac:chgData name="Alana Rivera" userId="S::arg3669@ads.northwestern.edu::fc8b707a-b7e9-4f2a-8d71-2d76819b7881" providerId="AD" clId="Web-{3E81E0CF-E582-4D57-5132-0B6C13973CF0}" dt="2023-12-28T20:14:31" v="234"/>
          <ac:cxnSpMkLst>
            <pc:docMk/>
            <pc:sldMk cId="1323624667" sldId="760"/>
            <ac:cxnSpMk id="13" creationId="{AA2EAA10-076F-46BD-8F0F-B9A2FB77A85C}"/>
          </ac:cxnSpMkLst>
        </pc:cxnChg>
        <pc:cxnChg chg="add">
          <ac:chgData name="Alana Rivera" userId="S::arg3669@ads.northwestern.edu::fc8b707a-b7e9-4f2a-8d71-2d76819b7881" providerId="AD" clId="Web-{3E81E0CF-E582-4D57-5132-0B6C13973CF0}" dt="2023-12-28T20:14:31" v="234"/>
          <ac:cxnSpMkLst>
            <pc:docMk/>
            <pc:sldMk cId="1323624667" sldId="760"/>
            <ac:cxnSpMk id="15" creationId="{D891E407-403B-4764-86C9-33A56D3BCAA3}"/>
          </ac:cxnSpMkLst>
        </pc:cxnChg>
      </pc:sldChg>
      <pc:sldChg chg="add">
        <pc:chgData name="Alana Rivera" userId="S::arg3669@ads.northwestern.edu::fc8b707a-b7e9-4f2a-8d71-2d76819b7881" providerId="AD" clId="Web-{3E81E0CF-E582-4D57-5132-0B6C13973CF0}" dt="2023-12-28T20:17:02.068" v="243"/>
        <pc:sldMkLst>
          <pc:docMk/>
          <pc:sldMk cId="2330609099" sldId="761"/>
        </pc:sldMkLst>
      </pc:sldChg>
      <pc:sldChg chg="new del">
        <pc:chgData name="Alana Rivera" userId="S::arg3669@ads.northwestern.edu::fc8b707a-b7e9-4f2a-8d71-2d76819b7881" providerId="AD" clId="Web-{3E81E0CF-E582-4D57-5132-0B6C13973CF0}" dt="2023-12-28T20:16:14.519" v="238"/>
        <pc:sldMkLst>
          <pc:docMk/>
          <pc:sldMk cId="3042060521" sldId="761"/>
        </pc:sldMkLst>
      </pc:sldChg>
      <pc:sldChg chg="add">
        <pc:chgData name="Alana Rivera" userId="S::arg3669@ads.northwestern.edu::fc8b707a-b7e9-4f2a-8d71-2d76819b7881" providerId="AD" clId="Web-{3E81E0CF-E582-4D57-5132-0B6C13973CF0}" dt="2023-12-28T20:17:02.896" v="244"/>
        <pc:sldMkLst>
          <pc:docMk/>
          <pc:sldMk cId="3026235474" sldId="762"/>
        </pc:sldMkLst>
      </pc:sldChg>
      <pc:sldChg chg="add">
        <pc:chgData name="Alana Rivera" userId="S::arg3669@ads.northwestern.edu::fc8b707a-b7e9-4f2a-8d71-2d76819b7881" providerId="AD" clId="Web-{3E81E0CF-E582-4D57-5132-0B6C13973CF0}" dt="2023-12-28T20:17:03.115" v="245"/>
        <pc:sldMkLst>
          <pc:docMk/>
          <pc:sldMk cId="2525321083" sldId="763"/>
        </pc:sldMkLst>
      </pc:sldChg>
      <pc:sldChg chg="modSp new">
        <pc:chgData name="Alana Rivera" userId="S::arg3669@ads.northwestern.edu::fc8b707a-b7e9-4f2a-8d71-2d76819b7881" providerId="AD" clId="Web-{3E81E0CF-E582-4D57-5132-0B6C13973CF0}" dt="2023-12-28T20:21:57.999" v="256" actId="20577"/>
        <pc:sldMkLst>
          <pc:docMk/>
          <pc:sldMk cId="2167430157" sldId="764"/>
        </pc:sldMkLst>
        <pc:spChg chg="mod">
          <ac:chgData name="Alana Rivera" userId="S::arg3669@ads.northwestern.edu::fc8b707a-b7e9-4f2a-8d71-2d76819b7881" providerId="AD" clId="Web-{3E81E0CF-E582-4D57-5132-0B6C13973CF0}" dt="2023-12-28T20:21:41.514" v="250" actId="20577"/>
          <ac:spMkLst>
            <pc:docMk/>
            <pc:sldMk cId="2167430157" sldId="764"/>
            <ac:spMk id="2" creationId="{EC75C14F-AA3C-B9BE-0989-FEECE572D86A}"/>
          </ac:spMkLst>
        </pc:spChg>
        <pc:spChg chg="mod">
          <ac:chgData name="Alana Rivera" userId="S::arg3669@ads.northwestern.edu::fc8b707a-b7e9-4f2a-8d71-2d76819b7881" providerId="AD" clId="Web-{3E81E0CF-E582-4D57-5132-0B6C13973CF0}" dt="2023-12-28T20:21:57.999" v="256" actId="20577"/>
          <ac:spMkLst>
            <pc:docMk/>
            <pc:sldMk cId="2167430157" sldId="764"/>
            <ac:spMk id="3" creationId="{12ACB78F-3701-7C49-79A9-4579063957CD}"/>
          </ac:spMkLst>
        </pc:spChg>
      </pc:sldChg>
      <pc:sldChg chg="addSp delSp modSp new mod setBg">
        <pc:chgData name="Alana Rivera" userId="S::arg3669@ads.northwestern.edu::fc8b707a-b7e9-4f2a-8d71-2d76819b7881" providerId="AD" clId="Web-{3E81E0CF-E582-4D57-5132-0B6C13973CF0}" dt="2023-12-28T20:29:04.467" v="296"/>
        <pc:sldMkLst>
          <pc:docMk/>
          <pc:sldMk cId="1261886849" sldId="765"/>
        </pc:sldMkLst>
        <pc:spChg chg="mod">
          <ac:chgData name="Alana Rivera" userId="S::arg3669@ads.northwestern.edu::fc8b707a-b7e9-4f2a-8d71-2d76819b7881" providerId="AD" clId="Web-{3E81E0CF-E582-4D57-5132-0B6C13973CF0}" dt="2023-12-28T20:29:04.467" v="296"/>
          <ac:spMkLst>
            <pc:docMk/>
            <pc:sldMk cId="1261886849" sldId="765"/>
            <ac:spMk id="2" creationId="{49FE7D1D-AAD9-96C4-449C-05CDE1CB8665}"/>
          </ac:spMkLst>
        </pc:spChg>
        <pc:spChg chg="del">
          <ac:chgData name="Alana Rivera" userId="S::arg3669@ads.northwestern.edu::fc8b707a-b7e9-4f2a-8d71-2d76819b7881" providerId="AD" clId="Web-{3E81E0CF-E582-4D57-5132-0B6C13973CF0}" dt="2023-12-28T20:27:24.354" v="283"/>
          <ac:spMkLst>
            <pc:docMk/>
            <pc:sldMk cId="1261886849" sldId="765"/>
            <ac:spMk id="3" creationId="{7B21536B-5113-4FE3-28FF-B05560E9DD26}"/>
          </ac:spMkLst>
        </pc:spChg>
        <pc:spChg chg="mod ord">
          <ac:chgData name="Alana Rivera" userId="S::arg3669@ads.northwestern.edu::fc8b707a-b7e9-4f2a-8d71-2d76819b7881" providerId="AD" clId="Web-{3E81E0CF-E582-4D57-5132-0B6C13973CF0}" dt="2023-12-28T20:27:50.949" v="284"/>
          <ac:spMkLst>
            <pc:docMk/>
            <pc:sldMk cId="1261886849" sldId="765"/>
            <ac:spMk id="4" creationId="{73E73FB8-71B1-7DC6-D8C4-8F321B89D124}"/>
          </ac:spMkLst>
        </pc:spChg>
        <pc:spChg chg="mod">
          <ac:chgData name="Alana Rivera" userId="S::arg3669@ads.northwestern.edu::fc8b707a-b7e9-4f2a-8d71-2d76819b7881" providerId="AD" clId="Web-{3E81E0CF-E582-4D57-5132-0B6C13973CF0}" dt="2023-12-28T20:27:50.949" v="284"/>
          <ac:spMkLst>
            <pc:docMk/>
            <pc:sldMk cId="1261886849" sldId="765"/>
            <ac:spMk id="5" creationId="{0B73D8D2-C2DB-C39B-F46F-37D6415F0A05}"/>
          </ac:spMkLst>
        </pc:spChg>
        <pc:spChg chg="add mod">
          <ac:chgData name="Alana Rivera" userId="S::arg3669@ads.northwestern.edu::fc8b707a-b7e9-4f2a-8d71-2d76819b7881" providerId="AD" clId="Web-{3E81E0CF-E582-4D57-5132-0B6C13973CF0}" dt="2023-12-28T20:28:19.590" v="290"/>
          <ac:spMkLst>
            <pc:docMk/>
            <pc:sldMk cId="1261886849" sldId="765"/>
            <ac:spMk id="7" creationId="{8244CB38-9DB6-FCBC-AA67-A8F3AD7D5689}"/>
          </ac:spMkLst>
        </pc:spChg>
        <pc:spChg chg="add">
          <ac:chgData name="Alana Rivera" userId="S::arg3669@ads.northwestern.edu::fc8b707a-b7e9-4f2a-8d71-2d76819b7881" providerId="AD" clId="Web-{3E81E0CF-E582-4D57-5132-0B6C13973CF0}" dt="2023-12-28T20:27:50.949" v="284"/>
          <ac:spMkLst>
            <pc:docMk/>
            <pc:sldMk cId="1261886849" sldId="765"/>
            <ac:spMk id="11" creationId="{6753252F-4873-4F63-801D-CC719279A7D5}"/>
          </ac:spMkLst>
        </pc:spChg>
        <pc:spChg chg="add">
          <ac:chgData name="Alana Rivera" userId="S::arg3669@ads.northwestern.edu::fc8b707a-b7e9-4f2a-8d71-2d76819b7881" providerId="AD" clId="Web-{3E81E0CF-E582-4D57-5132-0B6C13973CF0}" dt="2023-12-28T20:27:50.949" v="284"/>
          <ac:spMkLst>
            <pc:docMk/>
            <pc:sldMk cId="1261886849" sldId="765"/>
            <ac:spMk id="13" creationId="{047C8CCB-F95D-4249-92DD-651249D3535A}"/>
          </ac:spMkLst>
        </pc:spChg>
        <pc:picChg chg="add mod ord">
          <ac:chgData name="Alana Rivera" userId="S::arg3669@ads.northwestern.edu::fc8b707a-b7e9-4f2a-8d71-2d76819b7881" providerId="AD" clId="Web-{3E81E0CF-E582-4D57-5132-0B6C13973CF0}" dt="2023-12-28T20:28:02.918" v="287" actId="14100"/>
          <ac:picMkLst>
            <pc:docMk/>
            <pc:sldMk cId="1261886849" sldId="765"/>
            <ac:picMk id="6" creationId="{3D5FF0C6-9AD5-88AB-36AB-15CCD15D0DC1}"/>
          </ac:picMkLst>
        </pc:picChg>
      </pc:sldChg>
      <pc:sldChg chg="modSp add">
        <pc:chgData name="Alana Rivera" userId="S::arg3669@ads.northwestern.edu::fc8b707a-b7e9-4f2a-8d71-2d76819b7881" providerId="AD" clId="Web-{3E81E0CF-E582-4D57-5132-0B6C13973CF0}" dt="2023-12-28T20:44:19.684" v="370"/>
        <pc:sldMkLst>
          <pc:docMk/>
          <pc:sldMk cId="2730238647" sldId="766"/>
        </pc:sldMkLst>
        <pc:spChg chg="mod">
          <ac:chgData name="Alana Rivera" userId="S::arg3669@ads.northwestern.edu::fc8b707a-b7e9-4f2a-8d71-2d76819b7881" providerId="AD" clId="Web-{3E81E0CF-E582-4D57-5132-0B6C13973CF0}" dt="2023-12-28T20:44:19.684" v="370"/>
          <ac:spMkLst>
            <pc:docMk/>
            <pc:sldMk cId="2730238647" sldId="766"/>
            <ac:spMk id="2" creationId="{00000000-0000-0000-0000-000000000000}"/>
          </ac:spMkLst>
        </pc:spChg>
      </pc:sldChg>
      <pc:sldChg chg="modSp add">
        <pc:chgData name="Alana Rivera" userId="S::arg3669@ads.northwestern.edu::fc8b707a-b7e9-4f2a-8d71-2d76819b7881" providerId="AD" clId="Web-{3E81E0CF-E582-4D57-5132-0B6C13973CF0}" dt="2023-12-28T20:44:24.091" v="371"/>
        <pc:sldMkLst>
          <pc:docMk/>
          <pc:sldMk cId="1177085520" sldId="767"/>
        </pc:sldMkLst>
        <pc:spChg chg="mod">
          <ac:chgData name="Alana Rivera" userId="S::arg3669@ads.northwestern.edu::fc8b707a-b7e9-4f2a-8d71-2d76819b7881" providerId="AD" clId="Web-{3E81E0CF-E582-4D57-5132-0B6C13973CF0}" dt="2023-12-28T20:44:24.091" v="371"/>
          <ac:spMkLst>
            <pc:docMk/>
            <pc:sldMk cId="1177085520" sldId="767"/>
            <ac:spMk id="2" creationId="{00000000-0000-0000-0000-000000000000}"/>
          </ac:spMkLst>
        </pc:spChg>
      </pc:sldChg>
      <pc:sldChg chg="modSp add">
        <pc:chgData name="Alana Rivera" userId="S::arg3669@ads.northwestern.edu::fc8b707a-b7e9-4f2a-8d71-2d76819b7881" providerId="AD" clId="Web-{3E81E0CF-E582-4D57-5132-0B6C13973CF0}" dt="2023-12-28T20:44:28.044" v="372"/>
        <pc:sldMkLst>
          <pc:docMk/>
          <pc:sldMk cId="1549218491" sldId="768"/>
        </pc:sldMkLst>
        <pc:spChg chg="mod">
          <ac:chgData name="Alana Rivera" userId="S::arg3669@ads.northwestern.edu::fc8b707a-b7e9-4f2a-8d71-2d76819b7881" providerId="AD" clId="Web-{3E81E0CF-E582-4D57-5132-0B6C13973CF0}" dt="2023-12-28T20:44:28.044" v="372"/>
          <ac:spMkLst>
            <pc:docMk/>
            <pc:sldMk cId="1549218491" sldId="768"/>
            <ac:spMk id="2" creationId="{00000000-0000-0000-0000-000000000000}"/>
          </ac:spMkLst>
        </pc:spChg>
      </pc:sldChg>
      <pc:sldChg chg="modSp add">
        <pc:chgData name="Alana Rivera" userId="S::arg3669@ads.northwestern.edu::fc8b707a-b7e9-4f2a-8d71-2d76819b7881" providerId="AD" clId="Web-{3E81E0CF-E582-4D57-5132-0B6C13973CF0}" dt="2023-12-28T20:44:33.841" v="373"/>
        <pc:sldMkLst>
          <pc:docMk/>
          <pc:sldMk cId="4074859317" sldId="769"/>
        </pc:sldMkLst>
        <pc:spChg chg="mod">
          <ac:chgData name="Alana Rivera" userId="S::arg3669@ads.northwestern.edu::fc8b707a-b7e9-4f2a-8d71-2d76819b7881" providerId="AD" clId="Web-{3E81E0CF-E582-4D57-5132-0B6C13973CF0}" dt="2023-12-28T20:44:33.841" v="373"/>
          <ac:spMkLst>
            <pc:docMk/>
            <pc:sldMk cId="4074859317" sldId="769"/>
            <ac:spMk id="2" creationId="{00000000-0000-0000-0000-000000000000}"/>
          </ac:spMkLst>
        </pc:spChg>
      </pc:sldChg>
      <pc:sldChg chg="modSp add">
        <pc:chgData name="Alana Rivera" userId="S::arg3669@ads.northwestern.edu::fc8b707a-b7e9-4f2a-8d71-2d76819b7881" providerId="AD" clId="Web-{3E81E0CF-E582-4D57-5132-0B6C13973CF0}" dt="2023-12-28T20:44:38.591" v="374"/>
        <pc:sldMkLst>
          <pc:docMk/>
          <pc:sldMk cId="3174384986" sldId="770"/>
        </pc:sldMkLst>
        <pc:spChg chg="mod">
          <ac:chgData name="Alana Rivera" userId="S::arg3669@ads.northwestern.edu::fc8b707a-b7e9-4f2a-8d71-2d76819b7881" providerId="AD" clId="Web-{3E81E0CF-E582-4D57-5132-0B6C13973CF0}" dt="2023-12-28T20:44:38.591" v="374"/>
          <ac:spMkLst>
            <pc:docMk/>
            <pc:sldMk cId="3174384986" sldId="770"/>
            <ac:spMk id="2" creationId="{00000000-0000-0000-0000-000000000000}"/>
          </ac:spMkLst>
        </pc:spChg>
      </pc:sldChg>
      <pc:sldChg chg="modSp add">
        <pc:chgData name="Alana Rivera" userId="S::arg3669@ads.northwestern.edu::fc8b707a-b7e9-4f2a-8d71-2d76819b7881" providerId="AD" clId="Web-{3E81E0CF-E582-4D57-5132-0B6C13973CF0}" dt="2023-12-28T20:44:46.826" v="375"/>
        <pc:sldMkLst>
          <pc:docMk/>
          <pc:sldMk cId="661046635" sldId="771"/>
        </pc:sldMkLst>
        <pc:spChg chg="mod">
          <ac:chgData name="Alana Rivera" userId="S::arg3669@ads.northwestern.edu::fc8b707a-b7e9-4f2a-8d71-2d76819b7881" providerId="AD" clId="Web-{3E81E0CF-E582-4D57-5132-0B6C13973CF0}" dt="2023-12-28T20:44:46.826" v="375"/>
          <ac:spMkLst>
            <pc:docMk/>
            <pc:sldMk cId="661046635" sldId="771"/>
            <ac:spMk id="2" creationId="{00000000-0000-0000-0000-000000000000}"/>
          </ac:spMkLst>
        </pc:spChg>
      </pc:sldChg>
    </pc:docChg>
  </pc:docChgLst>
  <pc:docChgLst>
    <pc:chgData name="Alana Rivera" userId="S::arg3669@ads.northwestern.edu::fc8b707a-b7e9-4f2a-8d71-2d76819b7881" providerId="AD" clId="Web-{EEF5ACAF-3680-7262-A628-DF1FDA3B77FA}"/>
    <pc:docChg chg="modSld">
      <pc:chgData name="Alana Rivera" userId="S::arg3669@ads.northwestern.edu::fc8b707a-b7e9-4f2a-8d71-2d76819b7881" providerId="AD" clId="Web-{EEF5ACAF-3680-7262-A628-DF1FDA3B77FA}" dt="2023-12-11T13:04:46.745" v="3"/>
      <pc:docMkLst>
        <pc:docMk/>
      </pc:docMkLst>
      <pc:sldChg chg="delSp modSp">
        <pc:chgData name="Alana Rivera" userId="S::arg3669@ads.northwestern.edu::fc8b707a-b7e9-4f2a-8d71-2d76819b7881" providerId="AD" clId="Web-{EEF5ACAF-3680-7262-A628-DF1FDA3B77FA}" dt="2023-12-11T13:04:46.745" v="3"/>
        <pc:sldMkLst>
          <pc:docMk/>
          <pc:sldMk cId="3573947264" sldId="584"/>
        </pc:sldMkLst>
        <pc:spChg chg="del">
          <ac:chgData name="Alana Rivera" userId="S::arg3669@ads.northwestern.edu::fc8b707a-b7e9-4f2a-8d71-2d76819b7881" providerId="AD" clId="Web-{EEF5ACAF-3680-7262-A628-DF1FDA3B77FA}" dt="2023-12-11T13:04:46.745" v="3"/>
          <ac:spMkLst>
            <pc:docMk/>
            <pc:sldMk cId="3573947264" sldId="584"/>
            <ac:spMk id="5" creationId="{AE74FBFB-1843-9ED4-705E-449C6A1AC847}"/>
          </ac:spMkLst>
        </pc:spChg>
        <pc:spChg chg="mod">
          <ac:chgData name="Alana Rivera" userId="S::arg3669@ads.northwestern.edu::fc8b707a-b7e9-4f2a-8d71-2d76819b7881" providerId="AD" clId="Web-{EEF5ACAF-3680-7262-A628-DF1FDA3B77FA}" dt="2023-12-11T13:04:25.526" v="1" actId="20577"/>
          <ac:spMkLst>
            <pc:docMk/>
            <pc:sldMk cId="3573947264" sldId="584"/>
            <ac:spMk id="34" creationId="{CB726A25-CFF2-A633-BB75-01000B742058}"/>
          </ac:spMkLst>
        </pc:spChg>
        <pc:spChg chg="mod">
          <ac:chgData name="Alana Rivera" userId="S::arg3669@ads.northwestern.edu::fc8b707a-b7e9-4f2a-8d71-2d76819b7881" providerId="AD" clId="Web-{EEF5ACAF-3680-7262-A628-DF1FDA3B77FA}" dt="2023-12-11T13:04:36.166" v="2" actId="20577"/>
          <ac:spMkLst>
            <pc:docMk/>
            <pc:sldMk cId="3573947264" sldId="584"/>
            <ac:spMk id="42" creationId="{E9E3C6CF-96AA-68D8-0977-EC06066DAB15}"/>
          </ac:spMkLst>
        </pc:spChg>
      </pc:sldChg>
    </pc:docChg>
  </pc:docChgLst>
  <pc:docChgLst>
    <pc:chgData name="Alana Rivera" userId="S::arg3669@ads.northwestern.edu::fc8b707a-b7e9-4f2a-8d71-2d76819b7881" providerId="AD" clId="Web-{316D5976-A92B-4DA1-B7A8-34F7AEF9B15D}"/>
    <pc:docChg chg="modSld">
      <pc:chgData name="Alana Rivera" userId="S::arg3669@ads.northwestern.edu::fc8b707a-b7e9-4f2a-8d71-2d76819b7881" providerId="AD" clId="Web-{316D5976-A92B-4DA1-B7A8-34F7AEF9B15D}" dt="2023-10-25T16:12:34.060" v="3"/>
      <pc:docMkLst>
        <pc:docMk/>
      </pc:docMkLst>
      <pc:sldChg chg="modSp">
        <pc:chgData name="Alana Rivera" userId="S::arg3669@ads.northwestern.edu::fc8b707a-b7e9-4f2a-8d71-2d76819b7881" providerId="AD" clId="Web-{316D5976-A92B-4DA1-B7A8-34F7AEF9B15D}" dt="2023-10-25T16:12:34.060" v="3"/>
        <pc:sldMkLst>
          <pc:docMk/>
          <pc:sldMk cId="4044691067" sldId="283"/>
        </pc:sldMkLst>
        <pc:spChg chg="mod">
          <ac:chgData name="Alana Rivera" userId="S::arg3669@ads.northwestern.edu::fc8b707a-b7e9-4f2a-8d71-2d76819b7881" providerId="AD" clId="Web-{316D5976-A92B-4DA1-B7A8-34F7AEF9B15D}" dt="2023-10-25T16:12:34.060" v="3"/>
          <ac:spMkLst>
            <pc:docMk/>
            <pc:sldMk cId="4044691067" sldId="283"/>
            <ac:spMk id="3" creationId="{00000000-0000-0000-0000-000000000000}"/>
          </ac:spMkLst>
        </pc:spChg>
      </pc:sldChg>
    </pc:docChg>
  </pc:docChgLst>
  <pc:docChgLst>
    <pc:chgData name="Eileen Fleming Suse" userId="S::efs3844@ads.northwestern.edu::725c94ef-d051-42d7-9d33-8572765d592b" providerId="AD" clId="Web-{D1FD5983-AA3B-9DE6-CECC-8854B06948B5}"/>
    <pc:docChg chg="addSld delSld modSld">
      <pc:chgData name="Eileen Fleming Suse" userId="S::efs3844@ads.northwestern.edu::725c94ef-d051-42d7-9d33-8572765d592b" providerId="AD" clId="Web-{D1FD5983-AA3B-9DE6-CECC-8854B06948B5}" dt="2023-11-15T18:35:58.840" v="31"/>
      <pc:docMkLst>
        <pc:docMk/>
      </pc:docMkLst>
      <pc:sldChg chg="modSp">
        <pc:chgData name="Eileen Fleming Suse" userId="S::efs3844@ads.northwestern.edu::725c94ef-d051-42d7-9d33-8572765d592b" providerId="AD" clId="Web-{D1FD5983-AA3B-9DE6-CECC-8854B06948B5}" dt="2023-11-15T18:34:56.120" v="14" actId="1076"/>
        <pc:sldMkLst>
          <pc:docMk/>
          <pc:sldMk cId="3127921386" sldId="280"/>
        </pc:sldMkLst>
        <pc:spChg chg="mod">
          <ac:chgData name="Eileen Fleming Suse" userId="S::efs3844@ads.northwestern.edu::725c94ef-d051-42d7-9d33-8572765d592b" providerId="AD" clId="Web-{D1FD5983-AA3B-9DE6-CECC-8854B06948B5}" dt="2023-11-15T18:34:32.916" v="12" actId="20577"/>
          <ac:spMkLst>
            <pc:docMk/>
            <pc:sldMk cId="3127921386" sldId="280"/>
            <ac:spMk id="3" creationId="{1D742501-F937-8041-84E5-748F96AE991B}"/>
          </ac:spMkLst>
        </pc:spChg>
        <pc:spChg chg="mod">
          <ac:chgData name="Eileen Fleming Suse" userId="S::efs3844@ads.northwestern.edu::725c94ef-d051-42d7-9d33-8572765d592b" providerId="AD" clId="Web-{D1FD5983-AA3B-9DE6-CECC-8854B06948B5}" dt="2023-11-15T18:34:56.120" v="14" actId="1076"/>
          <ac:spMkLst>
            <pc:docMk/>
            <pc:sldMk cId="3127921386" sldId="280"/>
            <ac:spMk id="9" creationId="{7F20A429-9947-F447-2DF2-A5C17B5C6EC1}"/>
          </ac:spMkLst>
        </pc:spChg>
      </pc:sldChg>
      <pc:sldChg chg="delSp modSp">
        <pc:chgData name="Eileen Fleming Suse" userId="S::efs3844@ads.northwestern.edu::725c94ef-d051-42d7-9d33-8572765d592b" providerId="AD" clId="Web-{D1FD5983-AA3B-9DE6-CECC-8854B06948B5}" dt="2023-11-15T18:35:19.902" v="25"/>
        <pc:sldMkLst>
          <pc:docMk/>
          <pc:sldMk cId="4044691067" sldId="283"/>
        </pc:sldMkLst>
        <pc:spChg chg="del">
          <ac:chgData name="Eileen Fleming Suse" userId="S::efs3844@ads.northwestern.edu::725c94ef-d051-42d7-9d33-8572765d592b" providerId="AD" clId="Web-{D1FD5983-AA3B-9DE6-CECC-8854B06948B5}" dt="2023-11-15T18:35:19.902" v="25"/>
          <ac:spMkLst>
            <pc:docMk/>
            <pc:sldMk cId="4044691067" sldId="283"/>
            <ac:spMk id="2" creationId="{00000000-0000-0000-0000-000000000000}"/>
          </ac:spMkLst>
        </pc:spChg>
        <pc:spChg chg="del">
          <ac:chgData name="Eileen Fleming Suse" userId="S::efs3844@ads.northwestern.edu::725c94ef-d051-42d7-9d33-8572765d592b" providerId="AD" clId="Web-{D1FD5983-AA3B-9DE6-CECC-8854B06948B5}" dt="2023-11-15T18:35:19.855" v="24"/>
          <ac:spMkLst>
            <pc:docMk/>
            <pc:sldMk cId="4044691067" sldId="283"/>
            <ac:spMk id="3" creationId="{00000000-0000-0000-0000-000000000000}"/>
          </ac:spMkLst>
        </pc:spChg>
        <pc:spChg chg="mod">
          <ac:chgData name="Eileen Fleming Suse" userId="S::efs3844@ads.northwestern.edu::725c94ef-d051-42d7-9d33-8572765d592b" providerId="AD" clId="Web-{D1FD5983-AA3B-9DE6-CECC-8854B06948B5}" dt="2023-11-15T18:35:19.730" v="23"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D1FD5983-AA3B-9DE6-CECC-8854B06948B5}" dt="2023-11-15T18:35:58.840" v="31"/>
        <pc:sldMkLst>
          <pc:docMk/>
          <pc:sldMk cId="3004937174" sldId="565"/>
        </pc:sldMkLst>
      </pc:sldChg>
      <pc:sldChg chg="del">
        <pc:chgData name="Eileen Fleming Suse" userId="S::efs3844@ads.northwestern.edu::725c94ef-d051-42d7-9d33-8572765d592b" providerId="AD" clId="Web-{D1FD5983-AA3B-9DE6-CECC-8854B06948B5}" dt="2023-11-15T18:35:19.964" v="27"/>
        <pc:sldMkLst>
          <pc:docMk/>
          <pc:sldMk cId="1271905251" sldId="637"/>
        </pc:sldMkLst>
      </pc:sldChg>
      <pc:sldChg chg="del">
        <pc:chgData name="Eileen Fleming Suse" userId="S::efs3844@ads.northwestern.edu::725c94ef-d051-42d7-9d33-8572765d592b" providerId="AD" clId="Web-{D1FD5983-AA3B-9DE6-CECC-8854B06948B5}" dt="2023-11-15T18:35:19.933" v="26"/>
        <pc:sldMkLst>
          <pc:docMk/>
          <pc:sldMk cId="2890705621" sldId="638"/>
        </pc:sldMkLst>
      </pc:sldChg>
      <pc:sldChg chg="del">
        <pc:chgData name="Eileen Fleming Suse" userId="S::efs3844@ads.northwestern.edu::725c94ef-d051-42d7-9d33-8572765d592b" providerId="AD" clId="Web-{D1FD5983-AA3B-9DE6-CECC-8854B06948B5}" dt="2023-11-15T18:35:58.137" v="30"/>
        <pc:sldMkLst>
          <pc:docMk/>
          <pc:sldMk cId="113281680" sldId="642"/>
        </pc:sldMkLst>
      </pc:sldChg>
      <pc:sldChg chg="add">
        <pc:chgData name="Eileen Fleming Suse" userId="S::efs3844@ads.northwestern.edu::725c94ef-d051-42d7-9d33-8572765d592b" providerId="AD" clId="Web-{D1FD5983-AA3B-9DE6-CECC-8854B06948B5}" dt="2023-11-15T18:35:33.855" v="28"/>
        <pc:sldMkLst>
          <pc:docMk/>
          <pc:sldMk cId="1390938179" sldId="650"/>
        </pc:sldMkLst>
      </pc:sldChg>
      <pc:sldChg chg="add">
        <pc:chgData name="Eileen Fleming Suse" userId="S::efs3844@ads.northwestern.edu::725c94ef-d051-42d7-9d33-8572765d592b" providerId="AD" clId="Web-{D1FD5983-AA3B-9DE6-CECC-8854B06948B5}" dt="2023-11-15T18:35:34.105" v="29"/>
        <pc:sldMkLst>
          <pc:docMk/>
          <pc:sldMk cId="2353676571" sldId="651"/>
        </pc:sldMkLst>
      </pc:sldChg>
    </pc:docChg>
  </pc:docChgLst>
  <pc:docChgLst>
    <pc:chgData name="Eileen Fleming Suse" userId="S::efs3844@ads.northwestern.edu::725c94ef-d051-42d7-9d33-8572765d592b" providerId="AD" clId="Web-{0108D60B-BCCB-FC71-A764-6DA2F3D1F847}"/>
    <pc:docChg chg="addSld modSld sldOrd">
      <pc:chgData name="Eileen Fleming Suse" userId="S::efs3844@ads.northwestern.edu::725c94ef-d051-42d7-9d33-8572765d592b" providerId="AD" clId="Web-{0108D60B-BCCB-FC71-A764-6DA2F3D1F847}" dt="2024-01-08T20:28:16.880" v="803" actId="20577"/>
      <pc:docMkLst>
        <pc:docMk/>
      </pc:docMkLst>
      <pc:sldChg chg="modSp">
        <pc:chgData name="Eileen Fleming Suse" userId="S::efs3844@ads.northwestern.edu::725c94ef-d051-42d7-9d33-8572765d592b" providerId="AD" clId="Web-{0108D60B-BCCB-FC71-A764-6DA2F3D1F847}" dt="2024-01-08T20:25:26.033" v="799"/>
        <pc:sldMkLst>
          <pc:docMk/>
          <pc:sldMk cId="756675242" sldId="759"/>
        </pc:sldMkLst>
        <pc:spChg chg="mod">
          <ac:chgData name="Eileen Fleming Suse" userId="S::efs3844@ads.northwestern.edu::725c94ef-d051-42d7-9d33-8572765d592b" providerId="AD" clId="Web-{0108D60B-BCCB-FC71-A764-6DA2F3D1F847}" dt="2024-01-08T20:25:26.033" v="799"/>
          <ac:spMkLst>
            <pc:docMk/>
            <pc:sldMk cId="756675242" sldId="759"/>
            <ac:spMk id="2" creationId="{6659FA61-332B-9147-CBEF-669C83839D2A}"/>
          </ac:spMkLst>
        </pc:spChg>
      </pc:sldChg>
      <pc:sldChg chg="delSp modSp">
        <pc:chgData name="Eileen Fleming Suse" userId="S::efs3844@ads.northwestern.edu::725c94ef-d051-42d7-9d33-8572765d592b" providerId="AD" clId="Web-{0108D60B-BCCB-FC71-A764-6DA2F3D1F847}" dt="2024-01-08T19:59:06.794" v="751"/>
        <pc:sldMkLst>
          <pc:docMk/>
          <pc:sldMk cId="2730238647" sldId="766"/>
        </pc:sldMkLst>
        <pc:spChg chg="mod">
          <ac:chgData name="Eileen Fleming Suse" userId="S::efs3844@ads.northwestern.edu::725c94ef-d051-42d7-9d33-8572765d592b" providerId="AD" clId="Web-{0108D60B-BCCB-FC71-A764-6DA2F3D1F847}" dt="2024-01-08T19:59:06.794" v="751"/>
          <ac:spMkLst>
            <pc:docMk/>
            <pc:sldMk cId="2730238647" sldId="766"/>
            <ac:spMk id="2" creationId="{00000000-0000-0000-0000-000000000000}"/>
          </ac:spMkLst>
        </pc:spChg>
        <pc:graphicFrameChg chg="mod modGraphic">
          <ac:chgData name="Eileen Fleming Suse" userId="S::efs3844@ads.northwestern.edu::725c94ef-d051-42d7-9d33-8572765d592b" providerId="AD" clId="Web-{0108D60B-BCCB-FC71-A764-6DA2F3D1F847}" dt="2024-01-08T19:59:01.934" v="750" actId="1076"/>
          <ac:graphicFrameMkLst>
            <pc:docMk/>
            <pc:sldMk cId="2730238647" sldId="766"/>
            <ac:graphicFrameMk id="7" creationId="{00000000-0000-0000-0000-000000000000}"/>
          </ac:graphicFrameMkLst>
        </pc:graphicFrameChg>
        <pc:graphicFrameChg chg="del mod modGraphic">
          <ac:chgData name="Eileen Fleming Suse" userId="S::efs3844@ads.northwestern.edu::725c94ef-d051-42d7-9d33-8572765d592b" providerId="AD" clId="Web-{0108D60B-BCCB-FC71-A764-6DA2F3D1F847}" dt="2024-01-08T19:58:23.230" v="716"/>
          <ac:graphicFrameMkLst>
            <pc:docMk/>
            <pc:sldMk cId="2730238647" sldId="766"/>
            <ac:graphicFrameMk id="8" creationId="{00000000-0000-0000-0000-000000000000}"/>
          </ac:graphicFrameMkLst>
        </pc:graphicFrameChg>
      </pc:sldChg>
      <pc:sldChg chg="delSp modSp">
        <pc:chgData name="Eileen Fleming Suse" userId="S::efs3844@ads.northwestern.edu::725c94ef-d051-42d7-9d33-8572765d592b" providerId="AD" clId="Web-{0108D60B-BCCB-FC71-A764-6DA2F3D1F847}" dt="2024-01-08T19:56:29.711" v="629"/>
        <pc:sldMkLst>
          <pc:docMk/>
          <pc:sldMk cId="1177085520" sldId="767"/>
        </pc:sldMkLst>
        <pc:spChg chg="mod">
          <ac:chgData name="Eileen Fleming Suse" userId="S::efs3844@ads.northwestern.edu::725c94ef-d051-42d7-9d33-8572765d592b" providerId="AD" clId="Web-{0108D60B-BCCB-FC71-A764-6DA2F3D1F847}" dt="2024-01-08T19:56:04.944" v="603"/>
          <ac:spMkLst>
            <pc:docMk/>
            <pc:sldMk cId="1177085520" sldId="767"/>
            <ac:spMk id="2" creationId="{00000000-0000-0000-0000-000000000000}"/>
          </ac:spMkLst>
        </pc:spChg>
        <pc:graphicFrameChg chg="mod modGraphic">
          <ac:chgData name="Eileen Fleming Suse" userId="S::efs3844@ads.northwestern.edu::725c94ef-d051-42d7-9d33-8572765d592b" providerId="AD" clId="Web-{0108D60B-BCCB-FC71-A764-6DA2F3D1F847}" dt="2024-01-08T19:56:29.711" v="629"/>
          <ac:graphicFrameMkLst>
            <pc:docMk/>
            <pc:sldMk cId="1177085520" sldId="767"/>
            <ac:graphicFrameMk id="6" creationId="{00000000-0000-0000-0000-000000000000}"/>
          </ac:graphicFrameMkLst>
        </pc:graphicFrameChg>
        <pc:graphicFrameChg chg="del">
          <ac:chgData name="Eileen Fleming Suse" userId="S::efs3844@ads.northwestern.edu::725c94ef-d051-42d7-9d33-8572765d592b" providerId="AD" clId="Web-{0108D60B-BCCB-FC71-A764-6DA2F3D1F847}" dt="2024-01-08T19:49:34.682" v="478"/>
          <ac:graphicFrameMkLst>
            <pc:docMk/>
            <pc:sldMk cId="1177085520" sldId="767"/>
            <ac:graphicFrameMk id="7" creationId="{00000000-0000-0000-0000-000000000000}"/>
          </ac:graphicFrameMkLst>
        </pc:graphicFrameChg>
      </pc:sldChg>
      <pc:sldChg chg="modSp">
        <pc:chgData name="Eileen Fleming Suse" userId="S::efs3844@ads.northwestern.edu::725c94ef-d051-42d7-9d33-8572765d592b" providerId="AD" clId="Web-{0108D60B-BCCB-FC71-A764-6DA2F3D1F847}" dt="2024-01-08T20:24:57.673" v="798" actId="20577"/>
        <pc:sldMkLst>
          <pc:docMk/>
          <pc:sldMk cId="1549218491" sldId="768"/>
        </pc:sldMkLst>
        <pc:spChg chg="mod">
          <ac:chgData name="Eileen Fleming Suse" userId="S::efs3844@ads.northwestern.edu::725c94ef-d051-42d7-9d33-8572765d592b" providerId="AD" clId="Web-{0108D60B-BCCB-FC71-A764-6DA2F3D1F847}" dt="2024-01-08T19:46:56.756" v="427" actId="1076"/>
          <ac:spMkLst>
            <pc:docMk/>
            <pc:sldMk cId="1549218491" sldId="768"/>
            <ac:spMk id="2" creationId="{00000000-0000-0000-0000-000000000000}"/>
          </ac:spMkLst>
        </pc:spChg>
        <pc:spChg chg="mod">
          <ac:chgData name="Eileen Fleming Suse" userId="S::efs3844@ads.northwestern.edu::725c94ef-d051-42d7-9d33-8572765d592b" providerId="AD" clId="Web-{0108D60B-BCCB-FC71-A764-6DA2F3D1F847}" dt="2024-01-08T20:24:57.673" v="798" actId="20577"/>
          <ac:spMkLst>
            <pc:docMk/>
            <pc:sldMk cId="1549218491" sldId="768"/>
            <ac:spMk id="10" creationId="{00000000-0000-0000-0000-000000000000}"/>
          </ac:spMkLst>
        </pc:spChg>
      </pc:sldChg>
      <pc:sldChg chg="modSp">
        <pc:chgData name="Eileen Fleming Suse" userId="S::efs3844@ads.northwestern.edu::725c94ef-d051-42d7-9d33-8572765d592b" providerId="AD" clId="Web-{0108D60B-BCCB-FC71-A764-6DA2F3D1F847}" dt="2024-01-08T19:24:16.389" v="326"/>
        <pc:sldMkLst>
          <pc:docMk/>
          <pc:sldMk cId="4074859317" sldId="769"/>
        </pc:sldMkLst>
        <pc:spChg chg="mod">
          <ac:chgData name="Eileen Fleming Suse" userId="S::efs3844@ads.northwestern.edu::725c94ef-d051-42d7-9d33-8572765d592b" providerId="AD" clId="Web-{0108D60B-BCCB-FC71-A764-6DA2F3D1F847}" dt="2024-01-08T19:24:16.389" v="326"/>
          <ac:spMkLst>
            <pc:docMk/>
            <pc:sldMk cId="4074859317" sldId="769"/>
            <ac:spMk id="2" creationId="{00000000-0000-0000-0000-000000000000}"/>
          </ac:spMkLst>
        </pc:spChg>
      </pc:sldChg>
      <pc:sldChg chg="addSp delSp modSp">
        <pc:chgData name="Eileen Fleming Suse" userId="S::efs3844@ads.northwestern.edu::725c94ef-d051-42d7-9d33-8572765d592b" providerId="AD" clId="Web-{0108D60B-BCCB-FC71-A764-6DA2F3D1F847}" dt="2024-01-05T17:56:43.456" v="192" actId="20577"/>
        <pc:sldMkLst>
          <pc:docMk/>
          <pc:sldMk cId="3174384986" sldId="770"/>
        </pc:sldMkLst>
        <pc:spChg chg="add del mod">
          <ac:chgData name="Eileen Fleming Suse" userId="S::efs3844@ads.northwestern.edu::725c94ef-d051-42d7-9d33-8572765d592b" providerId="AD" clId="Web-{0108D60B-BCCB-FC71-A764-6DA2F3D1F847}" dt="2024-01-05T17:56:13.081" v="190"/>
          <ac:spMkLst>
            <pc:docMk/>
            <pc:sldMk cId="3174384986" sldId="770"/>
            <ac:spMk id="3" creationId="{EEFA7588-381F-3DB0-261E-1A7B024CDF63}"/>
          </ac:spMkLst>
        </pc:spChg>
        <pc:spChg chg="mod">
          <ac:chgData name="Eileen Fleming Suse" userId="S::efs3844@ads.northwestern.edu::725c94ef-d051-42d7-9d33-8572765d592b" providerId="AD" clId="Web-{0108D60B-BCCB-FC71-A764-6DA2F3D1F847}" dt="2024-01-05T17:56:43.456" v="192" actId="20577"/>
          <ac:spMkLst>
            <pc:docMk/>
            <pc:sldMk cId="3174384986" sldId="770"/>
            <ac:spMk id="8" creationId="{00000000-0000-0000-0000-000000000000}"/>
          </ac:spMkLst>
        </pc:spChg>
      </pc:sldChg>
      <pc:sldChg chg="modSp">
        <pc:chgData name="Eileen Fleming Suse" userId="S::efs3844@ads.northwestern.edu::725c94ef-d051-42d7-9d33-8572765d592b" providerId="AD" clId="Web-{0108D60B-BCCB-FC71-A764-6DA2F3D1F847}" dt="2024-01-05T17:53:58.849" v="136" actId="20577"/>
        <pc:sldMkLst>
          <pc:docMk/>
          <pc:sldMk cId="661046635" sldId="771"/>
        </pc:sldMkLst>
        <pc:spChg chg="mod">
          <ac:chgData name="Eileen Fleming Suse" userId="S::efs3844@ads.northwestern.edu::725c94ef-d051-42d7-9d33-8572765d592b" providerId="AD" clId="Web-{0108D60B-BCCB-FC71-A764-6DA2F3D1F847}" dt="2024-01-05T17:53:58.849" v="136" actId="20577"/>
          <ac:spMkLst>
            <pc:docMk/>
            <pc:sldMk cId="661046635" sldId="771"/>
            <ac:spMk id="8" creationId="{00000000-0000-0000-0000-000000000000}"/>
          </ac:spMkLst>
        </pc:spChg>
      </pc:sldChg>
      <pc:sldChg chg="modSp new">
        <pc:chgData name="Eileen Fleming Suse" userId="S::efs3844@ads.northwestern.edu::725c94ef-d051-42d7-9d33-8572765d592b" providerId="AD" clId="Web-{0108D60B-BCCB-FC71-A764-6DA2F3D1F847}" dt="2024-01-04T21:31:50.944" v="2" actId="20577"/>
        <pc:sldMkLst>
          <pc:docMk/>
          <pc:sldMk cId="1961791320" sldId="772"/>
        </pc:sldMkLst>
        <pc:spChg chg="mod">
          <ac:chgData name="Eileen Fleming Suse" userId="S::efs3844@ads.northwestern.edu::725c94ef-d051-42d7-9d33-8572765d592b" providerId="AD" clId="Web-{0108D60B-BCCB-FC71-A764-6DA2F3D1F847}" dt="2024-01-04T21:31:50.944" v="2" actId="20577"/>
          <ac:spMkLst>
            <pc:docMk/>
            <pc:sldMk cId="1961791320" sldId="772"/>
            <ac:spMk id="2" creationId="{0225100F-420D-CB68-2575-2DC3BEBF4CB0}"/>
          </ac:spMkLst>
        </pc:spChg>
      </pc:sldChg>
      <pc:sldChg chg="modSp new">
        <pc:chgData name="Eileen Fleming Suse" userId="S::efs3844@ads.northwestern.edu::725c94ef-d051-42d7-9d33-8572765d592b" providerId="AD" clId="Web-{0108D60B-BCCB-FC71-A764-6DA2F3D1F847}" dt="2024-01-04T21:32:42.056" v="9" actId="20577"/>
        <pc:sldMkLst>
          <pc:docMk/>
          <pc:sldMk cId="3462412353" sldId="773"/>
        </pc:sldMkLst>
        <pc:spChg chg="mod">
          <ac:chgData name="Eileen Fleming Suse" userId="S::efs3844@ads.northwestern.edu::725c94ef-d051-42d7-9d33-8572765d592b" providerId="AD" clId="Web-{0108D60B-BCCB-FC71-A764-6DA2F3D1F847}" dt="2024-01-04T21:32:42.056" v="9" actId="20577"/>
          <ac:spMkLst>
            <pc:docMk/>
            <pc:sldMk cId="3462412353" sldId="773"/>
            <ac:spMk id="2" creationId="{7A590FE6-A718-DB35-8361-76567E797D89}"/>
          </ac:spMkLst>
        </pc:spChg>
      </pc:sldChg>
      <pc:sldChg chg="modSp add replId">
        <pc:chgData name="Eileen Fleming Suse" userId="S::efs3844@ads.northwestern.edu::725c94ef-d051-42d7-9d33-8572765d592b" providerId="AD" clId="Web-{0108D60B-BCCB-FC71-A764-6DA2F3D1F847}" dt="2024-01-04T21:35:02.046" v="36" actId="20577"/>
        <pc:sldMkLst>
          <pc:docMk/>
          <pc:sldMk cId="4002180916" sldId="774"/>
        </pc:sldMkLst>
        <pc:spChg chg="mod">
          <ac:chgData name="Eileen Fleming Suse" userId="S::efs3844@ads.northwestern.edu::725c94ef-d051-42d7-9d33-8572765d592b" providerId="AD" clId="Web-{0108D60B-BCCB-FC71-A764-6DA2F3D1F847}" dt="2024-01-04T21:35:02.046" v="36" actId="20577"/>
          <ac:spMkLst>
            <pc:docMk/>
            <pc:sldMk cId="4002180916" sldId="774"/>
            <ac:spMk id="8" creationId="{0ED66B27-0F11-86B9-EFB0-3CA28DD48605}"/>
          </ac:spMkLst>
        </pc:spChg>
      </pc:sldChg>
      <pc:sldChg chg="modSp add ord replId">
        <pc:chgData name="Eileen Fleming Suse" userId="S::efs3844@ads.northwestern.edu::725c94ef-d051-42d7-9d33-8572765d592b" providerId="AD" clId="Web-{0108D60B-BCCB-FC71-A764-6DA2F3D1F847}" dt="2024-01-05T17:51:12.022" v="96" actId="20577"/>
        <pc:sldMkLst>
          <pc:docMk/>
          <pc:sldMk cId="2951495738" sldId="775"/>
        </pc:sldMkLst>
        <pc:spChg chg="mod">
          <ac:chgData name="Eileen Fleming Suse" userId="S::efs3844@ads.northwestern.edu::725c94ef-d051-42d7-9d33-8572765d592b" providerId="AD" clId="Web-{0108D60B-BCCB-FC71-A764-6DA2F3D1F847}" dt="2024-01-05T17:51:12.022" v="96" actId="20577"/>
          <ac:spMkLst>
            <pc:docMk/>
            <pc:sldMk cId="2951495738" sldId="775"/>
            <ac:spMk id="8" creationId="{9953D7F1-17BD-728F-97C1-5B32C8D16034}"/>
          </ac:spMkLst>
        </pc:spChg>
      </pc:sldChg>
      <pc:sldChg chg="modSp add replId">
        <pc:chgData name="Eileen Fleming Suse" userId="S::efs3844@ads.northwestern.edu::725c94ef-d051-42d7-9d33-8572765d592b" providerId="AD" clId="Web-{0108D60B-BCCB-FC71-A764-6DA2F3D1F847}" dt="2024-01-05T17:55:16.785" v="174" actId="20577"/>
        <pc:sldMkLst>
          <pc:docMk/>
          <pc:sldMk cId="2163654907" sldId="776"/>
        </pc:sldMkLst>
        <pc:spChg chg="mod">
          <ac:chgData name="Eileen Fleming Suse" userId="S::efs3844@ads.northwestern.edu::725c94ef-d051-42d7-9d33-8572765d592b" providerId="AD" clId="Web-{0108D60B-BCCB-FC71-A764-6DA2F3D1F847}" dt="2024-01-05T17:55:16.785" v="174" actId="20577"/>
          <ac:spMkLst>
            <pc:docMk/>
            <pc:sldMk cId="2163654907" sldId="776"/>
            <ac:spMk id="8" creationId="{ED1BE979-C18D-624E-E463-2C8C3A396A0B}"/>
          </ac:spMkLst>
        </pc:spChg>
      </pc:sldChg>
      <pc:sldChg chg="modSp add replId">
        <pc:chgData name="Eileen Fleming Suse" userId="S::efs3844@ads.northwestern.edu::725c94ef-d051-42d7-9d33-8572765d592b" providerId="AD" clId="Web-{0108D60B-BCCB-FC71-A764-6DA2F3D1F847}" dt="2024-01-05T17:57:10.753" v="194" actId="20577"/>
        <pc:sldMkLst>
          <pc:docMk/>
          <pc:sldMk cId="329698235" sldId="777"/>
        </pc:sldMkLst>
        <pc:spChg chg="mod">
          <ac:chgData name="Eileen Fleming Suse" userId="S::efs3844@ads.northwestern.edu::725c94ef-d051-42d7-9d33-8572765d592b" providerId="AD" clId="Web-{0108D60B-BCCB-FC71-A764-6DA2F3D1F847}" dt="2024-01-05T17:57:10.753" v="194" actId="20577"/>
          <ac:spMkLst>
            <pc:docMk/>
            <pc:sldMk cId="329698235" sldId="777"/>
            <ac:spMk id="8" creationId="{A09C94AD-2CF7-519B-2435-D0EABC3FE2E6}"/>
          </ac:spMkLst>
        </pc:spChg>
      </pc:sldChg>
      <pc:sldChg chg="add replId">
        <pc:chgData name="Eileen Fleming Suse" userId="S::efs3844@ads.northwestern.edu::725c94ef-d051-42d7-9d33-8572765d592b" providerId="AD" clId="Web-{0108D60B-BCCB-FC71-A764-6DA2F3D1F847}" dt="2024-01-05T17:57:10.909" v="195"/>
        <pc:sldMkLst>
          <pc:docMk/>
          <pc:sldMk cId="651048136" sldId="778"/>
        </pc:sldMkLst>
      </pc:sldChg>
      <pc:sldChg chg="addSp delSp modSp new">
        <pc:chgData name="Eileen Fleming Suse" userId="S::efs3844@ads.northwestern.edu::725c94ef-d051-42d7-9d33-8572765d592b" providerId="AD" clId="Web-{0108D60B-BCCB-FC71-A764-6DA2F3D1F847}" dt="2024-01-08T19:24:02.201" v="325" actId="1076"/>
        <pc:sldMkLst>
          <pc:docMk/>
          <pc:sldMk cId="3952621467" sldId="779"/>
        </pc:sldMkLst>
        <pc:spChg chg="mod">
          <ac:chgData name="Eileen Fleming Suse" userId="S::efs3844@ads.northwestern.edu::725c94ef-d051-42d7-9d33-8572765d592b" providerId="AD" clId="Web-{0108D60B-BCCB-FC71-A764-6DA2F3D1F847}" dt="2024-01-08T19:09:16.647" v="200" actId="20577"/>
          <ac:spMkLst>
            <pc:docMk/>
            <pc:sldMk cId="3952621467" sldId="779"/>
            <ac:spMk id="2" creationId="{95696CCD-346E-ACCB-3B41-54198AC298C3}"/>
          </ac:spMkLst>
        </pc:spChg>
        <pc:spChg chg="mod">
          <ac:chgData name="Eileen Fleming Suse" userId="S::efs3844@ads.northwestern.edu::725c94ef-d051-42d7-9d33-8572765d592b" providerId="AD" clId="Web-{0108D60B-BCCB-FC71-A764-6DA2F3D1F847}" dt="2024-01-08T19:22:07.729" v="279" actId="20577"/>
          <ac:spMkLst>
            <pc:docMk/>
            <pc:sldMk cId="3952621467" sldId="779"/>
            <ac:spMk id="3" creationId="{3D116CC5-783C-05ED-E59D-C20917A3F977}"/>
          </ac:spMkLst>
        </pc:spChg>
        <pc:spChg chg="add mod">
          <ac:chgData name="Eileen Fleming Suse" userId="S::efs3844@ads.northwestern.edu::725c94ef-d051-42d7-9d33-8572765d592b" providerId="AD" clId="Web-{0108D60B-BCCB-FC71-A764-6DA2F3D1F847}" dt="2024-01-08T19:23:58.419" v="324" actId="20577"/>
          <ac:spMkLst>
            <pc:docMk/>
            <pc:sldMk cId="3952621467" sldId="779"/>
            <ac:spMk id="6" creationId="{624E5E16-C2C8-3E70-D60F-7779039D5D3F}"/>
          </ac:spMkLst>
        </pc:spChg>
        <pc:spChg chg="add del">
          <ac:chgData name="Eileen Fleming Suse" userId="S::efs3844@ads.northwestern.edu::725c94ef-d051-42d7-9d33-8572765d592b" providerId="AD" clId="Web-{0108D60B-BCCB-FC71-A764-6DA2F3D1F847}" dt="2024-01-08T19:23:02.340" v="301"/>
          <ac:spMkLst>
            <pc:docMk/>
            <pc:sldMk cId="3952621467" sldId="779"/>
            <ac:spMk id="7" creationId="{E3CFFB39-76AB-57E1-9A23-C423A22668EB}"/>
          </ac:spMkLst>
        </pc:spChg>
        <pc:spChg chg="add mod">
          <ac:chgData name="Eileen Fleming Suse" userId="S::efs3844@ads.northwestern.edu::725c94ef-d051-42d7-9d33-8572765d592b" providerId="AD" clId="Web-{0108D60B-BCCB-FC71-A764-6DA2F3D1F847}" dt="2024-01-08T19:23:55.216" v="323" actId="20577"/>
          <ac:spMkLst>
            <pc:docMk/>
            <pc:sldMk cId="3952621467" sldId="779"/>
            <ac:spMk id="8" creationId="{1AC53495-722C-9B2E-6443-ACD63887CC51}"/>
          </ac:spMkLst>
        </pc:spChg>
        <pc:spChg chg="add mod">
          <ac:chgData name="Eileen Fleming Suse" userId="S::efs3844@ads.northwestern.edu::725c94ef-d051-42d7-9d33-8572765d592b" providerId="AD" clId="Web-{0108D60B-BCCB-FC71-A764-6DA2F3D1F847}" dt="2024-01-08T19:24:02.201" v="325" actId="1076"/>
          <ac:spMkLst>
            <pc:docMk/>
            <pc:sldMk cId="3952621467" sldId="779"/>
            <ac:spMk id="9" creationId="{81BF1FA0-2540-FD9B-D2A5-56A7EF7EEB4D}"/>
          </ac:spMkLst>
        </pc:spChg>
      </pc:sldChg>
      <pc:sldChg chg="addSp delSp modSp new">
        <pc:chgData name="Eileen Fleming Suse" userId="S::efs3844@ads.northwestern.edu::725c94ef-d051-42d7-9d33-8572765d592b" providerId="AD" clId="Web-{0108D60B-BCCB-FC71-A764-6DA2F3D1F847}" dt="2024-01-08T19:46:49.146" v="424" actId="14100"/>
        <pc:sldMkLst>
          <pc:docMk/>
          <pc:sldMk cId="3279958756" sldId="780"/>
        </pc:sldMkLst>
        <pc:spChg chg="mod">
          <ac:chgData name="Eileen Fleming Suse" userId="S::efs3844@ads.northwestern.edu::725c94ef-d051-42d7-9d33-8572765d592b" providerId="AD" clId="Web-{0108D60B-BCCB-FC71-A764-6DA2F3D1F847}" dt="2024-01-08T19:24:24.217" v="329" actId="20577"/>
          <ac:spMkLst>
            <pc:docMk/>
            <pc:sldMk cId="3279958756" sldId="780"/>
            <ac:spMk id="2" creationId="{F441C5CA-0913-563C-145B-0EAD56152F25}"/>
          </ac:spMkLst>
        </pc:spChg>
        <pc:spChg chg="del">
          <ac:chgData name="Eileen Fleming Suse" userId="S::efs3844@ads.northwestern.edu::725c94ef-d051-42d7-9d33-8572765d592b" providerId="AD" clId="Web-{0108D60B-BCCB-FC71-A764-6DA2F3D1F847}" dt="2024-01-08T19:42:08.794" v="330"/>
          <ac:spMkLst>
            <pc:docMk/>
            <pc:sldMk cId="3279958756" sldId="780"/>
            <ac:spMk id="3" creationId="{997A80B0-4F7C-F063-5EB2-99BA045CCC4C}"/>
          </ac:spMkLst>
        </pc:spChg>
        <pc:spChg chg="add del">
          <ac:chgData name="Eileen Fleming Suse" userId="S::efs3844@ads.northwestern.edu::725c94ef-d051-42d7-9d33-8572765d592b" providerId="AD" clId="Web-{0108D60B-BCCB-FC71-A764-6DA2F3D1F847}" dt="2024-01-08T19:42:35.951" v="333"/>
          <ac:spMkLst>
            <pc:docMk/>
            <pc:sldMk cId="3279958756" sldId="780"/>
            <ac:spMk id="7" creationId="{50E07D5B-0891-BA61-6438-DA8535C59172}"/>
          </ac:spMkLst>
        </pc:spChg>
        <pc:spChg chg="add mod">
          <ac:chgData name="Eileen Fleming Suse" userId="S::efs3844@ads.northwestern.edu::725c94ef-d051-42d7-9d33-8572765d592b" providerId="AD" clId="Web-{0108D60B-BCCB-FC71-A764-6DA2F3D1F847}" dt="2024-01-08T19:46:49.146" v="424" actId="14100"/>
          <ac:spMkLst>
            <pc:docMk/>
            <pc:sldMk cId="3279958756" sldId="780"/>
            <ac:spMk id="8" creationId="{CC4DBCEB-6265-3F16-22D2-CF9C7C016880}"/>
          </ac:spMkLst>
        </pc:spChg>
        <pc:picChg chg="add mod ord">
          <ac:chgData name="Eileen Fleming Suse" userId="S::efs3844@ads.northwestern.edu::725c94ef-d051-42d7-9d33-8572765d592b" providerId="AD" clId="Web-{0108D60B-BCCB-FC71-A764-6DA2F3D1F847}" dt="2024-01-08T19:42:26.701" v="331" actId="1076"/>
          <ac:picMkLst>
            <pc:docMk/>
            <pc:sldMk cId="3279958756" sldId="780"/>
            <ac:picMk id="6" creationId="{5D798CB4-85CD-7604-81E0-0418B591C559}"/>
          </ac:picMkLst>
        </pc:picChg>
      </pc:sldChg>
      <pc:sldChg chg="addSp delSp modSp add replId">
        <pc:chgData name="Eileen Fleming Suse" userId="S::efs3844@ads.northwestern.edu::725c94ef-d051-42d7-9d33-8572765d592b" providerId="AD" clId="Web-{0108D60B-BCCB-FC71-A764-6DA2F3D1F847}" dt="2024-01-08T20:22:27.997" v="796"/>
        <pc:sldMkLst>
          <pc:docMk/>
          <pc:sldMk cId="1760752827" sldId="781"/>
        </pc:sldMkLst>
        <pc:spChg chg="mod">
          <ac:chgData name="Eileen Fleming Suse" userId="S::efs3844@ads.northwestern.edu::725c94ef-d051-42d7-9d33-8572765d592b" providerId="AD" clId="Web-{0108D60B-BCCB-FC71-A764-6DA2F3D1F847}" dt="2024-01-08T19:58:16.230" v="713"/>
          <ac:spMkLst>
            <pc:docMk/>
            <pc:sldMk cId="1760752827" sldId="781"/>
            <ac:spMk id="2" creationId="{EE886371-EE36-A003-A359-73525F0B1B03}"/>
          </ac:spMkLst>
        </pc:spChg>
        <pc:spChg chg="add del mod">
          <ac:chgData name="Eileen Fleming Suse" userId="S::efs3844@ads.northwestern.edu::725c94ef-d051-42d7-9d33-8572765d592b" providerId="AD" clId="Web-{0108D60B-BCCB-FC71-A764-6DA2F3D1F847}" dt="2024-01-08T20:22:27.997" v="796"/>
          <ac:spMkLst>
            <pc:docMk/>
            <pc:sldMk cId="1760752827" sldId="781"/>
            <ac:spMk id="8" creationId="{5F1E0A0F-9F7E-7B4D-9BD1-08D2A0C670AA}"/>
          </ac:spMkLst>
        </pc:spChg>
        <pc:graphicFrameChg chg="del mod modGraphic">
          <ac:chgData name="Eileen Fleming Suse" userId="S::efs3844@ads.northwestern.edu::725c94ef-d051-42d7-9d33-8572765d592b" providerId="AD" clId="Web-{0108D60B-BCCB-FC71-A764-6DA2F3D1F847}" dt="2024-01-08T19:56:38.070" v="632"/>
          <ac:graphicFrameMkLst>
            <pc:docMk/>
            <pc:sldMk cId="1760752827" sldId="781"/>
            <ac:graphicFrameMk id="6" creationId="{41CF23DE-A7D2-887A-443C-ADCBF57070A3}"/>
          </ac:graphicFrameMkLst>
        </pc:graphicFrameChg>
        <pc:graphicFrameChg chg="mod modGraphic">
          <ac:chgData name="Eileen Fleming Suse" userId="S::efs3844@ads.northwestern.edu::725c94ef-d051-42d7-9d33-8572765d592b" providerId="AD" clId="Web-{0108D60B-BCCB-FC71-A764-6DA2F3D1F847}" dt="2024-01-08T19:58:02.354" v="711" actId="1076"/>
          <ac:graphicFrameMkLst>
            <pc:docMk/>
            <pc:sldMk cId="1760752827" sldId="781"/>
            <ac:graphicFrameMk id="7" creationId="{E3697C67-F02A-B3F7-7D3D-7E718C19988D}"/>
          </ac:graphicFrameMkLst>
        </pc:graphicFrameChg>
      </pc:sldChg>
      <pc:sldChg chg="addSp delSp modSp add replId">
        <pc:chgData name="Eileen Fleming Suse" userId="S::efs3844@ads.northwestern.edu::725c94ef-d051-42d7-9d33-8572765d592b" providerId="AD" clId="Web-{0108D60B-BCCB-FC71-A764-6DA2F3D1F847}" dt="2024-01-08T20:22:22.450" v="795" actId="1076"/>
        <pc:sldMkLst>
          <pc:docMk/>
          <pc:sldMk cId="1996400893" sldId="782"/>
        </pc:sldMkLst>
        <pc:spChg chg="mod">
          <ac:chgData name="Eileen Fleming Suse" userId="S::efs3844@ads.northwestern.edu::725c94ef-d051-42d7-9d33-8572765d592b" providerId="AD" clId="Web-{0108D60B-BCCB-FC71-A764-6DA2F3D1F847}" dt="2024-01-08T20:22:00.856" v="793"/>
          <ac:spMkLst>
            <pc:docMk/>
            <pc:sldMk cId="1996400893" sldId="782"/>
            <ac:spMk id="2" creationId="{5FE65BC2-3E0A-5267-2728-E75C5322EA1E}"/>
          </ac:spMkLst>
        </pc:spChg>
        <pc:spChg chg="add del mod">
          <ac:chgData name="Eileen Fleming Suse" userId="S::efs3844@ads.northwestern.edu::725c94ef-d051-42d7-9d33-8572765d592b" providerId="AD" clId="Web-{0108D60B-BCCB-FC71-A764-6DA2F3D1F847}" dt="2024-01-08T20:21:26.527" v="752"/>
          <ac:spMkLst>
            <pc:docMk/>
            <pc:sldMk cId="1996400893" sldId="782"/>
            <ac:spMk id="6" creationId="{70B7EF6C-928B-6E50-E504-61036EC165FA}"/>
          </ac:spMkLst>
        </pc:spChg>
        <pc:graphicFrameChg chg="del mod modGraphic">
          <ac:chgData name="Eileen Fleming Suse" userId="S::efs3844@ads.northwestern.edu::725c94ef-d051-42d7-9d33-8572765d592b" providerId="AD" clId="Web-{0108D60B-BCCB-FC71-A764-6DA2F3D1F847}" dt="2024-01-08T19:58:25.839" v="719"/>
          <ac:graphicFrameMkLst>
            <pc:docMk/>
            <pc:sldMk cId="1996400893" sldId="782"/>
            <ac:graphicFrameMk id="7" creationId="{5EAA295A-0702-9879-1929-9B07BF4D7B00}"/>
          </ac:graphicFrameMkLst>
        </pc:graphicFrameChg>
        <pc:graphicFrameChg chg="mod modGraphic">
          <ac:chgData name="Eileen Fleming Suse" userId="S::efs3844@ads.northwestern.edu::725c94ef-d051-42d7-9d33-8572765d592b" providerId="AD" clId="Web-{0108D60B-BCCB-FC71-A764-6DA2F3D1F847}" dt="2024-01-08T20:22:22.450" v="795" actId="1076"/>
          <ac:graphicFrameMkLst>
            <pc:docMk/>
            <pc:sldMk cId="1996400893" sldId="782"/>
            <ac:graphicFrameMk id="8" creationId="{7983D868-A342-276F-1CAA-03CC6C829F2D}"/>
          </ac:graphicFrameMkLst>
        </pc:graphicFrameChg>
      </pc:sldChg>
      <pc:sldChg chg="modSp new">
        <pc:chgData name="Eileen Fleming Suse" userId="S::efs3844@ads.northwestern.edu::725c94ef-d051-42d7-9d33-8572765d592b" providerId="AD" clId="Web-{0108D60B-BCCB-FC71-A764-6DA2F3D1F847}" dt="2024-01-08T20:28:16.880" v="803" actId="20577"/>
        <pc:sldMkLst>
          <pc:docMk/>
          <pc:sldMk cId="3842601195" sldId="783"/>
        </pc:sldMkLst>
        <pc:spChg chg="mod">
          <ac:chgData name="Eileen Fleming Suse" userId="S::efs3844@ads.northwestern.edu::725c94ef-d051-42d7-9d33-8572765d592b" providerId="AD" clId="Web-{0108D60B-BCCB-FC71-A764-6DA2F3D1F847}" dt="2024-01-08T20:28:16.880" v="803" actId="20577"/>
          <ac:spMkLst>
            <pc:docMk/>
            <pc:sldMk cId="3842601195" sldId="783"/>
            <ac:spMk id="2" creationId="{4E3F8777-758C-FAF2-E632-AA95D1A84CE7}"/>
          </ac:spMkLst>
        </pc:spChg>
      </pc:sldChg>
    </pc:docChg>
  </pc:docChgLst>
  <pc:docChgLst>
    <pc:chgData name="Isabel Rose Gippo" userId="S::irg9370@ads.northwestern.edu::b10bfe7e-55b9-46dd-9add-2eb52cb66d3b" providerId="AD" clId="Web-{8E3BEBCA-AD6A-76DA-B8D3-33301DA82F27}"/>
    <pc:docChg chg="modSld">
      <pc:chgData name="Isabel Rose Gippo" userId="S::irg9370@ads.northwestern.edu::b10bfe7e-55b9-46dd-9add-2eb52cb66d3b" providerId="AD" clId="Web-{8E3BEBCA-AD6A-76DA-B8D3-33301DA82F27}" dt="2023-10-24T18:26:04.342" v="34"/>
      <pc:docMkLst>
        <pc:docMk/>
      </pc:docMkLst>
      <pc:sldChg chg="addCm">
        <pc:chgData name="Isabel Rose Gippo" userId="S::irg9370@ads.northwestern.edu::b10bfe7e-55b9-46dd-9add-2eb52cb66d3b" providerId="AD" clId="Web-{8E3BEBCA-AD6A-76DA-B8D3-33301DA82F27}" dt="2023-10-24T18:11:44.401" v="0"/>
        <pc:sldMkLst>
          <pc:docMk/>
          <pc:sldMk cId="3090389772" sldId="56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11:44.401" v="0"/>
              <pc2:cmMkLst xmlns:pc2="http://schemas.microsoft.com/office/powerpoint/2019/9/main/command">
                <pc:docMk/>
                <pc:sldMk cId="3090389772" sldId="568"/>
                <pc2:cmMk id="{137A254D-2737-4985-B0AB-6839DDC46AE0}"/>
              </pc2:cmMkLst>
            </pc226:cmChg>
          </p:ext>
        </pc:extLst>
      </pc:sldChg>
      <pc:sldChg chg="modSp">
        <pc:chgData name="Isabel Rose Gippo" userId="S::irg9370@ads.northwestern.edu::b10bfe7e-55b9-46dd-9add-2eb52cb66d3b" providerId="AD" clId="Web-{8E3BEBCA-AD6A-76DA-B8D3-33301DA82F27}" dt="2023-10-24T18:22:26.399" v="21" actId="20577"/>
        <pc:sldMkLst>
          <pc:docMk/>
          <pc:sldMk cId="1088329954" sldId="569"/>
        </pc:sldMkLst>
        <pc:spChg chg="mod">
          <ac:chgData name="Isabel Rose Gippo" userId="S::irg9370@ads.northwestern.edu::b10bfe7e-55b9-46dd-9add-2eb52cb66d3b" providerId="AD" clId="Web-{8E3BEBCA-AD6A-76DA-B8D3-33301DA82F27}" dt="2023-10-24T18:22:26.399" v="21" actId="20577"/>
          <ac:spMkLst>
            <pc:docMk/>
            <pc:sldMk cId="1088329954" sldId="569"/>
            <ac:spMk id="7" creationId="{EAD90045-A731-42F5-ED3E-D5AE61B97B24}"/>
          </ac:spMkLst>
        </pc:spChg>
      </pc:sldChg>
      <pc:sldChg chg="modSp">
        <pc:chgData name="Isabel Rose Gippo" userId="S::irg9370@ads.northwestern.edu::b10bfe7e-55b9-46dd-9add-2eb52cb66d3b" providerId="AD" clId="Web-{8E3BEBCA-AD6A-76DA-B8D3-33301DA82F27}" dt="2023-10-24T18:22:39.837" v="23"/>
        <pc:sldMkLst>
          <pc:docMk/>
          <pc:sldMk cId="2849312483" sldId="570"/>
        </pc:sldMkLst>
        <pc:spChg chg="mod">
          <ac:chgData name="Isabel Rose Gippo" userId="S::irg9370@ads.northwestern.edu::b10bfe7e-55b9-46dd-9add-2eb52cb66d3b" providerId="AD" clId="Web-{8E3BEBCA-AD6A-76DA-B8D3-33301DA82F27}" dt="2023-10-24T18:13:20.762" v="1"/>
          <ac:spMkLst>
            <pc:docMk/>
            <pc:sldMk cId="2849312483" sldId="570"/>
            <ac:spMk id="5" creationId="{E069BE35-38BF-B866-0B62-A243ACB6F110}"/>
          </ac:spMkLst>
        </pc:spChg>
        <pc:spChg chg="mod">
          <ac:chgData name="Isabel Rose Gippo" userId="S::irg9370@ads.northwestern.edu::b10bfe7e-55b9-46dd-9add-2eb52cb66d3b" providerId="AD" clId="Web-{8E3BEBCA-AD6A-76DA-B8D3-33301DA82F27}" dt="2023-10-24T18:22:39.837" v="23"/>
          <ac:spMkLst>
            <pc:docMk/>
            <pc:sldMk cId="2849312483" sldId="570"/>
            <ac:spMk id="10" creationId="{C8307CA0-040F-CDB1-5F4D-16A04C6E74DF}"/>
          </ac:spMkLst>
        </pc:spChg>
      </pc:sldChg>
      <pc:sldChg chg="modSp addCm modCm">
        <pc:chgData name="Isabel Rose Gippo" userId="S::irg9370@ads.northwestern.edu::b10bfe7e-55b9-46dd-9add-2eb52cb66d3b" providerId="AD" clId="Web-{8E3BEBCA-AD6A-76DA-B8D3-33301DA82F27}" dt="2023-10-24T18:23:42.745" v="30" actId="1076"/>
        <pc:sldMkLst>
          <pc:docMk/>
          <pc:sldMk cId="1337825202" sldId="571"/>
        </pc:sldMkLst>
        <pc:spChg chg="mod">
          <ac:chgData name="Isabel Rose Gippo" userId="S::irg9370@ads.northwestern.edu::b10bfe7e-55b9-46dd-9add-2eb52cb66d3b" providerId="AD" clId="Web-{8E3BEBCA-AD6A-76DA-B8D3-33301DA82F27}" dt="2023-10-24T18:23:26.463" v="28" actId="1076"/>
          <ac:spMkLst>
            <pc:docMk/>
            <pc:sldMk cId="1337825202" sldId="571"/>
            <ac:spMk id="4" creationId="{16B24218-AF37-F6C6-7684-E7E3C16AFAF4}"/>
          </ac:spMkLst>
        </pc:spChg>
        <pc:spChg chg="mod">
          <ac:chgData name="Isabel Rose Gippo" userId="S::irg9370@ads.northwestern.edu::b10bfe7e-55b9-46dd-9add-2eb52cb66d3b" providerId="AD" clId="Web-{8E3BEBCA-AD6A-76DA-B8D3-33301DA82F27}" dt="2023-10-24T18:23:42.745" v="30" actId="1076"/>
          <ac:spMkLst>
            <pc:docMk/>
            <pc:sldMk cId="1337825202" sldId="571"/>
            <ac:spMk id="5" creationId="{45477BD9-E066-785E-8D58-760863918D07}"/>
          </ac:spMkLst>
        </pc:spChg>
        <pc:spChg chg="mod">
          <ac:chgData name="Isabel Rose Gippo" userId="S::irg9370@ads.northwestern.edu::b10bfe7e-55b9-46dd-9add-2eb52cb66d3b" providerId="AD" clId="Web-{8E3BEBCA-AD6A-76DA-B8D3-33301DA82F27}" dt="2023-10-24T18:23:31.698" v="29" actId="1076"/>
          <ac:spMkLst>
            <pc:docMk/>
            <pc:sldMk cId="1337825202" sldId="571"/>
            <ac:spMk id="7" creationId="{70F70170-82A9-3F58-8A7E-1C8F0DE96C28}"/>
          </ac:spMkLst>
        </pc:spChg>
        <pc:spChg chg="mod">
          <ac:chgData name="Isabel Rose Gippo" userId="S::irg9370@ads.northwestern.edu::b10bfe7e-55b9-46dd-9add-2eb52cb66d3b" providerId="AD" clId="Web-{8E3BEBCA-AD6A-76DA-B8D3-33301DA82F27}" dt="2023-10-24T18:23:19.760" v="26" actId="1076"/>
          <ac:spMkLst>
            <pc:docMk/>
            <pc:sldMk cId="1337825202" sldId="571"/>
            <ac:spMk id="19" creationId="{F49C1F1A-614A-5749-1A3F-78980B65ADBC}"/>
          </ac:spMkLst>
        </pc:spChg>
        <pc:picChg chg="mod">
          <ac:chgData name="Isabel Rose Gippo" userId="S::irg9370@ads.northwestern.edu::b10bfe7e-55b9-46dd-9add-2eb52cb66d3b" providerId="AD" clId="Web-{8E3BEBCA-AD6A-76DA-B8D3-33301DA82F27}" dt="2023-10-24T18:23:21.682" v="27" actId="1076"/>
          <ac:picMkLst>
            <pc:docMk/>
            <pc:sldMk cId="1337825202" sldId="571"/>
            <ac:picMk id="3" creationId="{295316AB-273C-55D8-0FED-C92B67DB5F3C}"/>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3:05.041" v="24"/>
              <pc2:cmMkLst xmlns:pc2="http://schemas.microsoft.com/office/powerpoint/2019/9/main/command">
                <pc:docMk/>
                <pc:sldMk cId="1337825202" sldId="571"/>
                <pc2:cmMk id="{597B57DA-0034-4896-9C5A-F5F5B1181A4B}"/>
              </pc2:cmMkLst>
              <pc226:cmRplyChg chg="add">
                <pc226:chgData name="Isabel Rose Gippo" userId="S::irg9370@ads.northwestern.edu::b10bfe7e-55b9-46dd-9add-2eb52cb66d3b" providerId="AD" clId="Web-{8E3BEBCA-AD6A-76DA-B8D3-33301DA82F27}" dt="2023-10-24T18:23:05.041" v="24"/>
                <pc2:cmRplyMkLst xmlns:pc2="http://schemas.microsoft.com/office/powerpoint/2019/9/main/command">
                  <pc:docMk/>
                  <pc:sldMk cId="1337825202" sldId="571"/>
                  <pc2:cmMk id="{597B57DA-0034-4896-9C5A-F5F5B1181A4B}"/>
                  <pc2:cmRplyMk id="{0B20A1DB-B066-4B4C-A06C-07EF4136C81F}"/>
                </pc2:cmRplyMkLst>
              </pc226:cmRplyChg>
            </pc226:cmChg>
          </p:ext>
        </pc:extLst>
      </pc:sldChg>
      <pc:sldChg chg="modSp addCm">
        <pc:chgData name="Isabel Rose Gippo" userId="S::irg9370@ads.northwestern.edu::b10bfe7e-55b9-46dd-9add-2eb52cb66d3b" providerId="AD" clId="Web-{8E3BEBCA-AD6A-76DA-B8D3-33301DA82F27}" dt="2023-10-24T18:26:04.342" v="34"/>
        <pc:sldMkLst>
          <pc:docMk/>
          <pc:sldMk cId="1568500938" sldId="575"/>
        </pc:sldMkLst>
        <pc:spChg chg="mod">
          <ac:chgData name="Isabel Rose Gippo" userId="S::irg9370@ads.northwestern.edu::b10bfe7e-55b9-46dd-9add-2eb52cb66d3b" providerId="AD" clId="Web-{8E3BEBCA-AD6A-76DA-B8D3-33301DA82F27}" dt="2023-10-24T18:24:13.043" v="33" actId="1076"/>
          <ac:spMkLst>
            <pc:docMk/>
            <pc:sldMk cId="1568500938" sldId="575"/>
            <ac:spMk id="4" creationId="{16B24218-AF37-F6C6-7684-E7E3C16AFAF4}"/>
          </ac:spMkLst>
        </pc:spChg>
        <pc:spChg chg="mod">
          <ac:chgData name="Isabel Rose Gippo" userId="S::irg9370@ads.northwestern.edu::b10bfe7e-55b9-46dd-9add-2eb52cb66d3b" providerId="AD" clId="Web-{8E3BEBCA-AD6A-76DA-B8D3-33301DA82F27}" dt="2023-10-24T18:24:07.386" v="32" actId="1076"/>
          <ac:spMkLst>
            <pc:docMk/>
            <pc:sldMk cId="1568500938" sldId="575"/>
            <ac:spMk id="19" creationId="{F49C1F1A-614A-5749-1A3F-78980B65ADBC}"/>
          </ac:spMkLst>
        </pc:spChg>
        <pc:picChg chg="mod">
          <ac:chgData name="Isabel Rose Gippo" userId="S::irg9370@ads.northwestern.edu::b10bfe7e-55b9-46dd-9add-2eb52cb66d3b" providerId="AD" clId="Web-{8E3BEBCA-AD6A-76DA-B8D3-33301DA82F27}" dt="2023-10-24T18:24:01.308" v="31" actId="1076"/>
          <ac:picMkLst>
            <pc:docMk/>
            <pc:sldMk cId="1568500938" sldId="575"/>
            <ac:picMk id="8" creationId="{C4A61916-BC63-F6E7-BBA0-F124F7732FEA}"/>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6:04.342" v="34"/>
              <pc2:cmMkLst xmlns:pc2="http://schemas.microsoft.com/office/powerpoint/2019/9/main/command">
                <pc:docMk/>
                <pc:sldMk cId="1568500938" sldId="575"/>
                <pc2:cmMk id="{AE1B6C45-0EF0-4CD3-8E51-393E7FE3AF62}"/>
              </pc2:cmMkLst>
            </pc226:cmChg>
          </p:ext>
        </pc:extLst>
      </pc:sldChg>
      <pc:sldChg chg="modSp">
        <pc:chgData name="Isabel Rose Gippo" userId="S::irg9370@ads.northwestern.edu::b10bfe7e-55b9-46dd-9add-2eb52cb66d3b" providerId="AD" clId="Web-{8E3BEBCA-AD6A-76DA-B8D3-33301DA82F27}" dt="2023-10-24T18:21:10.257" v="19" actId="1076"/>
        <pc:sldMkLst>
          <pc:docMk/>
          <pc:sldMk cId="1407824229" sldId="576"/>
        </pc:sldMkLst>
        <pc:spChg chg="mod">
          <ac:chgData name="Isabel Rose Gippo" userId="S::irg9370@ads.northwestern.edu::b10bfe7e-55b9-46dd-9add-2eb52cb66d3b" providerId="AD" clId="Web-{8E3BEBCA-AD6A-76DA-B8D3-33301DA82F27}" dt="2023-10-24T18:21:10.257" v="19" actId="1076"/>
          <ac:spMkLst>
            <pc:docMk/>
            <pc:sldMk cId="1407824229" sldId="576"/>
            <ac:spMk id="5" creationId="{45477BD9-E066-785E-8D58-760863918D07}"/>
          </ac:spMkLst>
        </pc:spChg>
        <pc:spChg chg="mod">
          <ac:chgData name="Isabel Rose Gippo" userId="S::irg9370@ads.northwestern.edu::b10bfe7e-55b9-46dd-9add-2eb52cb66d3b" providerId="AD" clId="Web-{8E3BEBCA-AD6A-76DA-B8D3-33301DA82F27}" dt="2023-10-24T18:21:07.601" v="18" actId="14100"/>
          <ac:spMkLst>
            <pc:docMk/>
            <pc:sldMk cId="1407824229" sldId="576"/>
            <ac:spMk id="7" creationId="{70F70170-82A9-3F58-8A7E-1C8F0DE96C28}"/>
          </ac:spMkLst>
        </pc:spChg>
      </pc:sldChg>
    </pc:docChg>
  </pc:docChgLst>
  <pc:docChgLst>
    <pc:chgData name="Alana Rivera" userId="S::arg3669@ads.northwestern.edu::fc8b707a-b7e9-4f2a-8d71-2d76819b7881" providerId="AD" clId="Web-{9570DE12-7482-A365-A3C2-E94E5026C97C}"/>
    <pc:docChg chg="modSld">
      <pc:chgData name="Alana Rivera" userId="S::arg3669@ads.northwestern.edu::fc8b707a-b7e9-4f2a-8d71-2d76819b7881" providerId="AD" clId="Web-{9570DE12-7482-A365-A3C2-E94E5026C97C}" dt="2023-11-17T16:55:40.336" v="20" actId="20577"/>
      <pc:docMkLst>
        <pc:docMk/>
      </pc:docMkLst>
      <pc:sldChg chg="modSp">
        <pc:chgData name="Alana Rivera" userId="S::arg3669@ads.northwestern.edu::fc8b707a-b7e9-4f2a-8d71-2d76819b7881" providerId="AD" clId="Web-{9570DE12-7482-A365-A3C2-E94E5026C97C}" dt="2023-11-17T16:52:05.785" v="4"/>
        <pc:sldMkLst>
          <pc:docMk/>
          <pc:sldMk cId="714682852" sldId="552"/>
        </pc:sldMkLst>
        <pc:spChg chg="mod">
          <ac:chgData name="Alana Rivera" userId="S::arg3669@ads.northwestern.edu::fc8b707a-b7e9-4f2a-8d71-2d76819b7881" providerId="AD" clId="Web-{9570DE12-7482-A365-A3C2-E94E5026C97C}" dt="2023-11-17T16:52:05.785" v="4"/>
          <ac:spMkLst>
            <pc:docMk/>
            <pc:sldMk cId="714682852" sldId="552"/>
            <ac:spMk id="2" creationId="{966FAC69-62AA-D40E-C4BD-DAD5BF599C69}"/>
          </ac:spMkLst>
        </pc:spChg>
      </pc:sldChg>
      <pc:sldChg chg="modSp">
        <pc:chgData name="Alana Rivera" userId="S::arg3669@ads.northwestern.edu::fc8b707a-b7e9-4f2a-8d71-2d76819b7881" providerId="AD" clId="Web-{9570DE12-7482-A365-A3C2-E94E5026C97C}" dt="2023-11-17T16:52:26.286" v="6"/>
        <pc:sldMkLst>
          <pc:docMk/>
          <pc:sldMk cId="3536510335" sldId="553"/>
        </pc:sldMkLst>
        <pc:spChg chg="mod">
          <ac:chgData name="Alana Rivera" userId="S::arg3669@ads.northwestern.edu::fc8b707a-b7e9-4f2a-8d71-2d76819b7881" providerId="AD" clId="Web-{9570DE12-7482-A365-A3C2-E94E5026C97C}" dt="2023-11-17T16:52:26.286" v="6"/>
          <ac:spMkLst>
            <pc:docMk/>
            <pc:sldMk cId="3536510335" sldId="553"/>
            <ac:spMk id="10" creationId="{7FA2B65B-6DF5-1F48-C692-646D2CEF0E2F}"/>
          </ac:spMkLst>
        </pc:spChg>
      </pc:sldChg>
      <pc:sldChg chg="modSp">
        <pc:chgData name="Alana Rivera" userId="S::arg3669@ads.northwestern.edu::fc8b707a-b7e9-4f2a-8d71-2d76819b7881" providerId="AD" clId="Web-{9570DE12-7482-A365-A3C2-E94E5026C97C}" dt="2023-11-17T16:52:15.988" v="5"/>
        <pc:sldMkLst>
          <pc:docMk/>
          <pc:sldMk cId="1231844700" sldId="554"/>
        </pc:sldMkLst>
        <pc:spChg chg="mod">
          <ac:chgData name="Alana Rivera" userId="S::arg3669@ads.northwestern.edu::fc8b707a-b7e9-4f2a-8d71-2d76819b7881" providerId="AD" clId="Web-{9570DE12-7482-A365-A3C2-E94E5026C97C}" dt="2023-11-17T16:52:15.988" v="5"/>
          <ac:spMkLst>
            <pc:docMk/>
            <pc:sldMk cId="1231844700" sldId="554"/>
            <ac:spMk id="2" creationId="{61FD53C4-A666-522F-F9AB-081D90D541D1}"/>
          </ac:spMkLst>
        </pc:spChg>
      </pc:sldChg>
      <pc:sldChg chg="modSp">
        <pc:chgData name="Alana Rivera" userId="S::arg3669@ads.northwestern.edu::fc8b707a-b7e9-4f2a-8d71-2d76819b7881" providerId="AD" clId="Web-{9570DE12-7482-A365-A3C2-E94E5026C97C}" dt="2023-11-17T16:48:18.031" v="3" actId="20577"/>
        <pc:sldMkLst>
          <pc:docMk/>
          <pc:sldMk cId="3336998141" sldId="681"/>
        </pc:sldMkLst>
        <pc:spChg chg="mod">
          <ac:chgData name="Alana Rivera" userId="S::arg3669@ads.northwestern.edu::fc8b707a-b7e9-4f2a-8d71-2d76819b7881" providerId="AD" clId="Web-{9570DE12-7482-A365-A3C2-E94E5026C97C}" dt="2023-11-17T16:48:18.031" v="3" actId="20577"/>
          <ac:spMkLst>
            <pc:docMk/>
            <pc:sldMk cId="3336998141" sldId="681"/>
            <ac:spMk id="3" creationId="{00000000-0000-0000-0000-000000000000}"/>
          </ac:spMkLst>
        </pc:spChg>
      </pc:sldChg>
      <pc:sldChg chg="addSp modSp">
        <pc:chgData name="Alana Rivera" userId="S::arg3669@ads.northwestern.edu::fc8b707a-b7e9-4f2a-8d71-2d76819b7881" providerId="AD" clId="Web-{9570DE12-7482-A365-A3C2-E94E5026C97C}" dt="2023-11-17T16:55:40.336" v="20" actId="20577"/>
        <pc:sldMkLst>
          <pc:docMk/>
          <pc:sldMk cId="2547146411" sldId="699"/>
        </pc:sldMkLst>
        <pc:spChg chg="add mod">
          <ac:chgData name="Alana Rivera" userId="S::arg3669@ads.northwestern.edu::fc8b707a-b7e9-4f2a-8d71-2d76819b7881" providerId="AD" clId="Web-{9570DE12-7482-A365-A3C2-E94E5026C97C}" dt="2023-11-17T16:55:40.336" v="20" actId="20577"/>
          <ac:spMkLst>
            <pc:docMk/>
            <pc:sldMk cId="2547146411" sldId="699"/>
            <ac:spMk id="38" creationId="{38A58365-605F-9282-AEAB-A7E2E448F3E2}"/>
          </ac:spMkLst>
        </pc:spChg>
      </pc:sld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r>
            <a:rPr lang="en-US"/>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dirty="0">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dirty="0">
              <a:latin typeface="Calibri" panose="020F0502020204030204"/>
            </a:rPr>
            <a:t>January 18th, 2024</a:t>
          </a:r>
          <a:endParaRPr lang="en-US" dirty="0"/>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17DC130-9F90-46B9-BC95-6B4655F98326}">
      <dgm:prSet phldr="0"/>
      <dgm:spPr/>
      <dgm:t>
        <a:bodyPr/>
        <a:lstStyle/>
        <a:p>
          <a:pPr rtl="0"/>
          <a:r>
            <a:rPr lang="en-US" dirty="0">
              <a:latin typeface="Calibri" panose="020F0502020204030204"/>
            </a:rPr>
            <a:t>December 7th, 2023</a:t>
          </a:r>
        </a:p>
      </dgm:t>
    </dgm:pt>
    <dgm:pt modelId="{3812E649-201B-4DFF-8BBC-01B4BBC59472}" type="parTrans" cxnId="{511E4CF6-5811-40F7-A02D-75BFF4F1BF21}">
      <dgm:prSet/>
      <dgm:spPr/>
      <dgm:t>
        <a:bodyPr/>
        <a:lstStyle/>
        <a:p>
          <a:endParaRPr lang="en-US"/>
        </a:p>
      </dgm:t>
    </dgm:pt>
    <dgm:pt modelId="{CC58E277-C8D2-4919-914C-61D9B04D7FA7}" type="sibTrans" cxnId="{511E4CF6-5811-40F7-A02D-75BFF4F1BF21}">
      <dgm:prSet/>
      <dgm:spPr/>
      <dgm:t>
        <a:bodyPr/>
        <a:lstStyle/>
        <a:p>
          <a:endParaRPr lang="en-US"/>
        </a:p>
      </dgm:t>
    </dgm:pt>
    <dgm:pt modelId="{A0D4E7A4-3117-4723-AAF3-8936E6B80F33}">
      <dgm:prSet phldr="0"/>
      <dgm:spPr/>
      <dgm:t>
        <a:bodyPr/>
        <a:lstStyle/>
        <a:p>
          <a:pPr rtl="0"/>
          <a:r>
            <a:rPr lang="en-US" dirty="0">
              <a:latin typeface="Calibri" panose="020F0502020204030204"/>
            </a:rPr>
            <a:t>QI Team Lead Support Call</a:t>
          </a:r>
        </a:p>
      </dgm:t>
    </dgm:pt>
    <dgm:pt modelId="{03EBEDE4-5DB2-4ECC-B6FB-1004FF9F36BC}" type="parTrans" cxnId="{5E59A7AB-CE34-464C-B6A2-AF34995932B4}">
      <dgm:prSet/>
      <dgm:spPr/>
      <dgm:t>
        <a:bodyPr/>
        <a:lstStyle/>
        <a:p>
          <a:endParaRPr lang="en-US"/>
        </a:p>
      </dgm:t>
    </dgm:pt>
    <dgm:pt modelId="{7A8CEC07-3094-400E-A904-2790BC6396A7}" type="sibTrans" cxnId="{5E59A7AB-CE34-464C-B6A2-AF34995932B4}">
      <dgm:prSet/>
      <dgm:spPr/>
      <dgm:t>
        <a:bodyPr/>
        <a:lstStyle/>
        <a:p>
          <a:endParaRPr lang="en-US"/>
        </a:p>
      </dgm:t>
    </dgm:pt>
    <dgm:pt modelId="{04184E62-4203-4EBA-846A-647E12EDFE7B}">
      <dgm:prSet phldr="0"/>
      <dgm:spPr/>
      <dgm:t>
        <a:bodyPr/>
        <a:lstStyle/>
        <a:p>
          <a:pPr rtl="0"/>
          <a:r>
            <a:rPr lang="en-US" dirty="0">
              <a:latin typeface="Calibri" panose="020F0502020204030204"/>
            </a:rPr>
            <a:t>January 11th, 2024</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dirty="0">
              <a:solidFill>
                <a:srgbClr val="444444"/>
              </a:solidFill>
              <a:latin typeface="Calibri" panose="020F0502020204030204"/>
            </a:rPr>
            <a:t>January </a:t>
          </a:r>
          <a:r>
            <a:rPr lang="en-US" dirty="0">
              <a:latin typeface="Calibri" panose="020F0502020204030204"/>
            </a:rPr>
            <a:t>22nd 2024 at 2pm</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dirty="0">
              <a:latin typeface="Calibri" panose="020F0502020204030204"/>
            </a:rPr>
            <a:t>ESSI Data Training Webinars</a:t>
          </a:r>
          <a:endParaRPr lang="en-US" dirty="0"/>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1E8B09AA-4CC9-487B-B16A-6BDBDBFF1448}">
      <dgm:prSet phldr="0"/>
      <dgm:spPr/>
      <dgm:t>
        <a:bodyPr/>
        <a:lstStyle/>
        <a:p>
          <a:pPr rtl="0"/>
          <a:r>
            <a:rPr lang="en-US" dirty="0">
              <a:latin typeface="Calibri" panose="020F0502020204030204"/>
            </a:rPr>
            <a:t>Important information for ESSI team leads on how to get started</a:t>
          </a:r>
        </a:p>
      </dgm:t>
    </dgm:pt>
    <dgm:pt modelId="{572F0438-E305-46A2-B41D-50C346A5F61B}" type="parTrans" cxnId="{3ECA6895-47D3-481A-9ADA-955DE7944A3F}">
      <dgm:prSet/>
      <dgm:spPr/>
      <dgm:t>
        <a:bodyPr/>
        <a:lstStyle/>
        <a:p>
          <a:endParaRPr lang="en-US"/>
        </a:p>
      </dgm:t>
    </dgm:pt>
    <dgm:pt modelId="{486899FC-F27C-4EF0-8E11-85A0FAF30A1F}" type="sibTrans" cxnId="{3ECA6895-47D3-481A-9ADA-955DE7944A3F}">
      <dgm:prSet/>
      <dgm:spPr/>
      <dgm:t>
        <a:bodyPr/>
        <a:lstStyle/>
        <a:p>
          <a:endParaRPr lang="en-US"/>
        </a:p>
      </dgm:t>
    </dgm:pt>
    <dgm:pt modelId="{8987D20E-A147-4A43-925C-44077CAB82FE}">
      <dgm:prSet phldrT="[Text]" phldr="0"/>
      <dgm:spPr/>
      <dgm:t>
        <a:bodyPr/>
        <a:lstStyle/>
        <a:p>
          <a:pPr rtl="0"/>
          <a:r>
            <a:rPr lang="en-US" dirty="0"/>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dirty="0">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9396E2C7-844D-4CC0-9F68-4357429F89BF}" type="pres">
      <dgm:prSet presAssocID="{A0D4E7A4-3117-4723-AAF3-8936E6B80F33}" presName="horFlow" presStyleCnt="0"/>
      <dgm:spPr/>
    </dgm:pt>
    <dgm:pt modelId="{81B6DA4E-BFB9-43D6-AF7A-AEDE000EE248}" type="pres">
      <dgm:prSet presAssocID="{A0D4E7A4-3117-4723-AAF3-8936E6B80F33}" presName="bigChev" presStyleLbl="node1" presStyleIdx="0" presStyleCnt="3"/>
      <dgm:spPr/>
    </dgm:pt>
    <dgm:pt modelId="{D19B867F-F50F-4C70-8508-500D3527C665}" type="pres">
      <dgm:prSet presAssocID="{3812E649-201B-4DFF-8BBC-01B4BBC59472}" presName="parTrans" presStyleCnt="0"/>
      <dgm:spPr/>
    </dgm:pt>
    <dgm:pt modelId="{69A3F573-828B-4DB7-9CCF-884EA63CCE92}" type="pres">
      <dgm:prSet presAssocID="{017DC130-9F90-46B9-BC95-6B4655F98326}" presName="node" presStyleLbl="alignAccFollowNode1" presStyleIdx="0" presStyleCnt="7">
        <dgm:presLayoutVars>
          <dgm:bulletEnabled val="1"/>
        </dgm:presLayoutVars>
      </dgm:prSet>
      <dgm:spPr/>
    </dgm:pt>
    <dgm:pt modelId="{0206FF33-B79E-4336-BD64-329B9BD269A0}" type="pres">
      <dgm:prSet presAssocID="{CC58E277-C8D2-4919-914C-61D9B04D7FA7}" presName="sibTrans" presStyleCnt="0"/>
      <dgm:spPr/>
    </dgm:pt>
    <dgm:pt modelId="{A66BEFC1-E304-4612-B5D9-747AB98866B1}" type="pres">
      <dgm:prSet presAssocID="{1E8B09AA-4CC9-487B-B16A-6BDBDBFF1448}" presName="node" presStyleLbl="alignAccFollowNode1" presStyleIdx="1" presStyleCnt="7" custScaleX="179088">
        <dgm:presLayoutVars>
          <dgm:bulletEnabled val="1"/>
        </dgm:presLayoutVars>
      </dgm:prSet>
      <dgm:spPr/>
    </dgm:pt>
    <dgm:pt modelId="{2B03031B-DEE1-43C6-B247-6312ED180B11}" type="pres">
      <dgm:prSet presAssocID="{A0D4E7A4-3117-4723-AAF3-8936E6B80F33}" presName="vSp" presStyleCnt="0"/>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1" presStyleCnt="3"/>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2" presStyleCnt="7">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3" presStyleCnt="7"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2" presStyleCnt="3"/>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4" presStyleCnt="7"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5" presStyleCnt="7"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6" presStyleCnt="7" custScaleX="134560">
        <dgm:presLayoutVars>
          <dgm:bulletEnabled val="1"/>
        </dgm:presLayoutVars>
      </dgm:prSet>
      <dgm:spPr/>
    </dgm:pt>
  </dgm:ptLst>
  <dgm:cxnLst>
    <dgm:cxn modelId="{02016008-E2EE-4DE1-804D-9CEC1ED6AB2D}" type="presOf" srcId="{8987D20E-A147-4A43-925C-44077CAB82FE}" destId="{D8BA990C-EEA2-4E44-B076-9170393433C7}" srcOrd="0" destOrd="0" presId="urn:microsoft.com/office/officeart/2005/8/layout/lProcess3"/>
    <dgm:cxn modelId="{BDAB7910-D8FD-4EDE-8D8E-E497F8B527B6}" type="presOf" srcId="{017DC130-9F90-46B9-BC95-6B4655F98326}" destId="{69A3F573-828B-4DB7-9CCF-884EA63CCE92}" srcOrd="0" destOrd="0" presId="urn:microsoft.com/office/officeart/2005/8/layout/lProcess3"/>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ADC9AB42-FB46-4B34-A6AC-B9F6F9CF4382}" type="presOf" srcId="{1E8B09AA-4CC9-487B-B16A-6BDBDBFF1448}" destId="{A66BEFC1-E304-4612-B5D9-747AB98866B1}" srcOrd="0" destOrd="0" presId="urn:microsoft.com/office/officeart/2005/8/layout/lProcess3"/>
    <dgm:cxn modelId="{3E189249-B51E-4CE4-A1B6-4178EBF15B98}" srcId="{CE31CE2D-52AD-47EE-9F57-FF0C2AB9FBB8}" destId="{DD004FB2-A568-4C30-AA6F-36014AE077F5}" srcOrd="1"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82D4537A-1D2B-4DC4-85FA-12FA56B5F801}" type="presOf" srcId="{DD004FB2-A568-4C30-AA6F-36014AE077F5}" destId="{60962599-610D-41A6-A308-3C61676FA10F}" srcOrd="0" destOrd="0" presId="urn:microsoft.com/office/officeart/2005/8/layout/lProcess3"/>
    <dgm:cxn modelId="{64137987-E82E-4069-A81F-55C7272FD118}" type="presOf" srcId="{27331272-1A14-4E80-B031-5AA5C5A02FFF}" destId="{4507A95F-1518-44E3-95D0-73A0EC79E6E5}" srcOrd="0" destOrd="0" presId="urn:microsoft.com/office/officeart/2005/8/layout/lProcess3"/>
    <dgm:cxn modelId="{39F82B8C-D17B-433D-B04B-C5189620BE03}" type="presOf" srcId="{7F435329-FBED-4AA4-A84F-70D9E9A80178}" destId="{E4E686C1-FC9F-4B2F-8F63-DDC471B0DEB4}" srcOrd="0" destOrd="0" presId="urn:microsoft.com/office/officeart/2005/8/layout/lProcess3"/>
    <dgm:cxn modelId="{3ECA6895-47D3-481A-9ADA-955DE7944A3F}" srcId="{A0D4E7A4-3117-4723-AAF3-8936E6B80F33}" destId="{1E8B09AA-4CC9-487B-B16A-6BDBDBFF1448}" srcOrd="1" destOrd="0" parTransId="{572F0438-E305-46A2-B41D-50C346A5F61B}" sibTransId="{486899FC-F27C-4EF0-8E11-85A0FAF30A1F}"/>
    <dgm:cxn modelId="{49DE3DA2-09E1-4714-93B6-2DD2D749A3C6}" srcId="{80CD9FC5-84A2-4119-AE4E-1AD6DC2A6A90}" destId="{27331272-1A14-4E80-B031-5AA5C5A02FFF}" srcOrd="1" destOrd="0" parTransId="{122F1A91-902B-46B9-8338-EF09B86B28D2}" sibTransId="{D141C3BC-F34D-4A2E-BCBE-2D15C984B647}"/>
    <dgm:cxn modelId="{0D8676A2-7019-48BB-B9C9-37F63CB7F3BD}" type="presOf" srcId="{A0D4E7A4-3117-4723-AAF3-8936E6B80F33}" destId="{81B6DA4E-BFB9-43D6-AF7A-AEDE000EE248}" srcOrd="0" destOrd="0" presId="urn:microsoft.com/office/officeart/2005/8/layout/lProcess3"/>
    <dgm:cxn modelId="{5E59A7AB-CE34-464C-B6A2-AF34995932B4}" srcId="{CE31CE2D-52AD-47EE-9F57-FF0C2AB9FBB8}" destId="{A0D4E7A4-3117-4723-AAF3-8936E6B80F33}" srcOrd="0" destOrd="0" parTransId="{03EBEDE4-5DB2-4ECC-B6FB-1004FF9F36BC}" sibTransId="{7A8CEC07-3094-400E-A904-2790BC6396A7}"/>
    <dgm:cxn modelId="{534CC6BE-90D0-4D02-B30B-52CCFBC6D2C9}" type="presOf" srcId="{80CD9FC5-84A2-4119-AE4E-1AD6DC2A6A90}" destId="{5D5075C0-CF76-44AB-9B25-E029186A86C7}" srcOrd="0" destOrd="0" presId="urn:microsoft.com/office/officeart/2005/8/layout/lProcess3"/>
    <dgm:cxn modelId="{E68F7CC1-5E40-4B73-9C2C-E5F65863BEDD}"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2" destOrd="0" parTransId="{44C892A4-16B5-4D15-B018-7008CEF3E344}" sibTransId="{DD32E8B5-4713-4832-9F58-63A206E397CB}"/>
    <dgm:cxn modelId="{511E4CF6-5811-40F7-A02D-75BFF4F1BF21}" srcId="{A0D4E7A4-3117-4723-AAF3-8936E6B80F33}" destId="{017DC130-9F90-46B9-BC95-6B4655F98326}" srcOrd="0" destOrd="0" parTransId="{3812E649-201B-4DFF-8BBC-01B4BBC59472}" sibTransId="{CC58E277-C8D2-4919-914C-61D9B04D7FA7}"/>
    <dgm:cxn modelId="{9FC0ACFA-D330-4375-9CA9-354007310AFE}" type="presOf" srcId="{3D132738-1FFB-47B6-A01C-0E0BA5C84AF4}" destId="{40C493D5-84C5-414A-B25E-F0516F30F1DB}" srcOrd="0" destOrd="0" presId="urn:microsoft.com/office/officeart/2005/8/layout/lProcess3"/>
    <dgm:cxn modelId="{286FB61C-3FB2-4BBA-9BB4-0FB1C7771D35}" type="presParOf" srcId="{1AC9F623-2B54-4F8A-831B-0CFEB8F285F0}" destId="{9396E2C7-844D-4CC0-9F68-4357429F89BF}" srcOrd="0" destOrd="0" presId="urn:microsoft.com/office/officeart/2005/8/layout/lProcess3"/>
    <dgm:cxn modelId="{3408CAD6-42C0-4BC6-A89A-13DAF9FF005D}" type="presParOf" srcId="{9396E2C7-844D-4CC0-9F68-4357429F89BF}" destId="{81B6DA4E-BFB9-43D6-AF7A-AEDE000EE248}" srcOrd="0" destOrd="0" presId="urn:microsoft.com/office/officeart/2005/8/layout/lProcess3"/>
    <dgm:cxn modelId="{E3D1A304-79BA-4FB8-ACEB-C08BDFAA9A49}" type="presParOf" srcId="{9396E2C7-844D-4CC0-9F68-4357429F89BF}" destId="{D19B867F-F50F-4C70-8508-500D3527C665}" srcOrd="1" destOrd="0" presId="urn:microsoft.com/office/officeart/2005/8/layout/lProcess3"/>
    <dgm:cxn modelId="{776A7AB7-713C-4705-B165-2692F1FD4796}" type="presParOf" srcId="{9396E2C7-844D-4CC0-9F68-4357429F89BF}" destId="{69A3F573-828B-4DB7-9CCF-884EA63CCE92}" srcOrd="2" destOrd="0" presId="urn:microsoft.com/office/officeart/2005/8/layout/lProcess3"/>
    <dgm:cxn modelId="{0512F1D8-A445-4762-8A40-111D90851181}" type="presParOf" srcId="{9396E2C7-844D-4CC0-9F68-4357429F89BF}" destId="{0206FF33-B79E-4336-BD64-329B9BD269A0}" srcOrd="3" destOrd="0" presId="urn:microsoft.com/office/officeart/2005/8/layout/lProcess3"/>
    <dgm:cxn modelId="{AE716D97-499E-459C-9F98-4B623DE22CDD}" type="presParOf" srcId="{9396E2C7-844D-4CC0-9F68-4357429F89BF}" destId="{A66BEFC1-E304-4612-B5D9-747AB98866B1}" srcOrd="4" destOrd="0" presId="urn:microsoft.com/office/officeart/2005/8/layout/lProcess3"/>
    <dgm:cxn modelId="{423A4B8A-3518-4FED-999B-3F4664D1DDDE}" type="presParOf" srcId="{1AC9F623-2B54-4F8A-831B-0CFEB8F285F0}" destId="{2B03031B-DEE1-43C6-B247-6312ED180B11}" srcOrd="1" destOrd="0" presId="urn:microsoft.com/office/officeart/2005/8/layout/lProcess3"/>
    <dgm:cxn modelId="{CBAB0D97-2A22-4C71-9572-FFD19F505868}" type="presParOf" srcId="{1AC9F623-2B54-4F8A-831B-0CFEB8F285F0}" destId="{D3E44863-7289-4C7F-A5F9-3F338DEA58F3}" srcOrd="2" destOrd="0" presId="urn:microsoft.com/office/officeart/2005/8/layout/lProcess3"/>
    <dgm:cxn modelId="{726E8719-CD64-4FEE-912D-0C78AF99FA09}" type="presParOf" srcId="{D3E44863-7289-4C7F-A5F9-3F338DEA58F3}" destId="{60962599-610D-41A6-A308-3C61676FA10F}" srcOrd="0" destOrd="0" presId="urn:microsoft.com/office/officeart/2005/8/layout/lProcess3"/>
    <dgm:cxn modelId="{75529053-E374-4F72-92E1-CAA6A514D937}" type="presParOf" srcId="{D3E44863-7289-4C7F-A5F9-3F338DEA58F3}" destId="{7B006ADB-7AD9-4CA9-AB29-0B37917A63E6}" srcOrd="1" destOrd="0" presId="urn:microsoft.com/office/officeart/2005/8/layout/lProcess3"/>
    <dgm:cxn modelId="{FCF6E24C-C812-455F-AF3D-DF29D0FA77B1}" type="presParOf" srcId="{D3E44863-7289-4C7F-A5F9-3F338DEA58F3}" destId="{40C493D5-84C5-414A-B25E-F0516F30F1DB}" srcOrd="2" destOrd="0" presId="urn:microsoft.com/office/officeart/2005/8/layout/lProcess3"/>
    <dgm:cxn modelId="{1539827A-4D92-479D-A433-689063AED2E7}" type="presParOf" srcId="{D3E44863-7289-4C7F-A5F9-3F338DEA58F3}" destId="{F5C0DCC4-DF73-4790-9CF8-ACC7AEF01C85}" srcOrd="3" destOrd="0" presId="urn:microsoft.com/office/officeart/2005/8/layout/lProcess3"/>
    <dgm:cxn modelId="{EAFA3150-B40E-4AD9-B304-EACC67AC6986}" type="presParOf" srcId="{D3E44863-7289-4C7F-A5F9-3F338DEA58F3}" destId="{E4E686C1-FC9F-4B2F-8F63-DDC471B0DEB4}" srcOrd="4" destOrd="0" presId="urn:microsoft.com/office/officeart/2005/8/layout/lProcess3"/>
    <dgm:cxn modelId="{E4D7968D-80F9-42E6-B2A7-0BD52A871463}" type="presParOf" srcId="{1AC9F623-2B54-4F8A-831B-0CFEB8F285F0}" destId="{02C85D75-F0CF-4656-9A04-F9D649821F56}" srcOrd="3" destOrd="0" presId="urn:microsoft.com/office/officeart/2005/8/layout/lProcess3"/>
    <dgm:cxn modelId="{C69E2E52-FD9C-473D-8954-1D42EEEA6C9D}" type="presParOf" srcId="{1AC9F623-2B54-4F8A-831B-0CFEB8F285F0}" destId="{A5B46316-F840-4195-86CF-FCB8623A496A}" srcOrd="4" destOrd="0" presId="urn:microsoft.com/office/officeart/2005/8/layout/lProcess3"/>
    <dgm:cxn modelId="{B94B1DFE-E295-4FD7-AA9C-DA8B54510B6A}" type="presParOf" srcId="{A5B46316-F840-4195-86CF-FCB8623A496A}" destId="{5D5075C0-CF76-44AB-9B25-E029186A86C7}" srcOrd="0" destOrd="0" presId="urn:microsoft.com/office/officeart/2005/8/layout/lProcess3"/>
    <dgm:cxn modelId="{F53B7BB6-ED74-48EA-8AC9-81D1938227F6}" type="presParOf" srcId="{A5B46316-F840-4195-86CF-FCB8623A496A}" destId="{A535F8AE-7CBE-4C20-8A04-B0949F1BDC20}" srcOrd="1" destOrd="0" presId="urn:microsoft.com/office/officeart/2005/8/layout/lProcess3"/>
    <dgm:cxn modelId="{25EFE1F9-8145-4DCD-8C22-C0773BF8430C}" type="presParOf" srcId="{A5B46316-F840-4195-86CF-FCB8623A496A}" destId="{DBA3233D-396D-4828-ABB1-05C8FA826E94}" srcOrd="2" destOrd="0" presId="urn:microsoft.com/office/officeart/2005/8/layout/lProcess3"/>
    <dgm:cxn modelId="{BA1979BE-AEEE-4651-9711-05D522321162}" type="presParOf" srcId="{A5B46316-F840-4195-86CF-FCB8623A496A}" destId="{5767BAFD-75A5-43CA-B5AA-360BDD57BF97}" srcOrd="3" destOrd="0" presId="urn:microsoft.com/office/officeart/2005/8/layout/lProcess3"/>
    <dgm:cxn modelId="{180428B1-40E1-4BE1-97BE-36B5B9FC0DA1}" type="presParOf" srcId="{A5B46316-F840-4195-86CF-FCB8623A496A}" destId="{4507A95F-1518-44E3-95D0-73A0EC79E6E5}" srcOrd="4" destOrd="0" presId="urn:microsoft.com/office/officeart/2005/8/layout/lProcess3"/>
    <dgm:cxn modelId="{A905ABE8-1EFD-4C93-9FE5-0ED762320C8C}" type="presParOf" srcId="{A5B46316-F840-4195-86CF-FCB8623A496A}" destId="{0EC2BE38-4523-4232-97BE-604EF5DE0027}" srcOrd="5" destOrd="0" presId="urn:microsoft.com/office/officeart/2005/8/layout/lProcess3"/>
    <dgm:cxn modelId="{CA980183-8DC9-4BB9-AFB7-E657DDD9CF42}"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F36647C-5324-4D08-BDB9-3E9B48F20DD1}" type="doc">
      <dgm:prSet loTypeId="urn:microsoft.com/office/officeart/2017/3/layout/DropPinTimeline" loCatId="process" qsTypeId="urn:microsoft.com/office/officeart/2005/8/quickstyle/simple1" qsCatId="simple" csTypeId="urn:microsoft.com/office/officeart/2005/8/colors/colorful1" csCatId="colorful" phldr="1"/>
      <dgm:spPr/>
      <dgm:t>
        <a:bodyPr/>
        <a:lstStyle/>
        <a:p>
          <a:endParaRPr lang="en-US"/>
        </a:p>
      </dgm:t>
    </dgm:pt>
    <dgm:pt modelId="{888DC0D2-4444-40D9-B858-BFDAA4CDF353}">
      <dgm:prSet/>
      <dgm:spPr/>
      <dgm:t>
        <a:bodyPr/>
        <a:lstStyle/>
        <a:p>
          <a:pPr>
            <a:defRPr b="1"/>
          </a:pPr>
          <a:r>
            <a:rPr lang="en-US"/>
            <a:t>January</a:t>
          </a:r>
        </a:p>
      </dgm:t>
    </dgm:pt>
    <dgm:pt modelId="{60EC43F8-DA40-49EB-BE0E-26C4F395A32F}" type="parTrans" cxnId="{3F45C7ED-0090-4AEE-94EB-07E2C9AD936C}">
      <dgm:prSet/>
      <dgm:spPr/>
      <dgm:t>
        <a:bodyPr/>
        <a:lstStyle/>
        <a:p>
          <a:endParaRPr lang="en-US"/>
        </a:p>
      </dgm:t>
    </dgm:pt>
    <dgm:pt modelId="{4EEDA2CB-0EF6-42B3-B5C1-B63D1AE6F3BD}" type="sibTrans" cxnId="{3F45C7ED-0090-4AEE-94EB-07E2C9AD936C}">
      <dgm:prSet/>
      <dgm:spPr/>
      <dgm:t>
        <a:bodyPr/>
        <a:lstStyle/>
        <a:p>
          <a:endParaRPr lang="en-US"/>
        </a:p>
      </dgm:t>
    </dgm:pt>
    <dgm:pt modelId="{35F31090-FA02-4466-AFB5-87B6DF07BCD7}">
      <dgm:prSet/>
      <dgm:spPr/>
      <dgm:t>
        <a:bodyPr/>
        <a:lstStyle/>
        <a:p>
          <a:r>
            <a:rPr lang="en-US"/>
            <a:t>Equitable and Respectful Care Education and Implementation</a:t>
          </a:r>
        </a:p>
      </dgm:t>
    </dgm:pt>
    <dgm:pt modelId="{02A6F90A-4E5E-47CC-991A-2BAB3C5B6268}" type="parTrans" cxnId="{EFA22CE1-2C52-470A-9938-CD484B2EA0F6}">
      <dgm:prSet/>
      <dgm:spPr/>
      <dgm:t>
        <a:bodyPr/>
        <a:lstStyle/>
        <a:p>
          <a:endParaRPr lang="en-US"/>
        </a:p>
      </dgm:t>
    </dgm:pt>
    <dgm:pt modelId="{F084EB43-00FB-414A-AD2A-3F7880D78FB6}" type="sibTrans" cxnId="{EFA22CE1-2C52-470A-9938-CD484B2EA0F6}">
      <dgm:prSet/>
      <dgm:spPr/>
      <dgm:t>
        <a:bodyPr/>
        <a:lstStyle/>
        <a:p>
          <a:endParaRPr lang="en-US"/>
        </a:p>
      </dgm:t>
    </dgm:pt>
    <dgm:pt modelId="{71889293-8C1F-4AD7-B68C-3FE0C7D16B13}">
      <dgm:prSet/>
      <dgm:spPr/>
      <dgm:t>
        <a:bodyPr/>
        <a:lstStyle/>
        <a:p>
          <a:pPr>
            <a:defRPr b="1"/>
          </a:pPr>
          <a:r>
            <a:rPr lang="en-US"/>
            <a:t>February</a:t>
          </a:r>
        </a:p>
      </dgm:t>
    </dgm:pt>
    <dgm:pt modelId="{FDAA98F7-80E5-459E-B1FE-A3F0CB591E6B}" type="parTrans" cxnId="{D1029826-F304-40AB-8A45-E110812DD908}">
      <dgm:prSet/>
      <dgm:spPr/>
      <dgm:t>
        <a:bodyPr/>
        <a:lstStyle/>
        <a:p>
          <a:endParaRPr lang="en-US"/>
        </a:p>
      </dgm:t>
    </dgm:pt>
    <dgm:pt modelId="{704D613E-FC16-44F7-BE3D-38E429095BE1}" type="sibTrans" cxnId="{D1029826-F304-40AB-8A45-E110812DD908}">
      <dgm:prSet/>
      <dgm:spPr/>
      <dgm:t>
        <a:bodyPr/>
        <a:lstStyle/>
        <a:p>
          <a:endParaRPr lang="en-US"/>
        </a:p>
      </dgm:t>
    </dgm:pt>
    <dgm:pt modelId="{CD7881FF-A15F-410F-B09D-1E890C99EC42}">
      <dgm:prSet/>
      <dgm:spPr/>
      <dgm:t>
        <a:bodyPr/>
        <a:lstStyle/>
        <a:p>
          <a:r>
            <a:rPr lang="en-US"/>
            <a:t>Equitable and Respectful Care Education and Implementation Part 2</a:t>
          </a:r>
        </a:p>
      </dgm:t>
    </dgm:pt>
    <dgm:pt modelId="{E5D9AAA8-90BA-4237-8261-FCC83548659B}" type="parTrans" cxnId="{BAADE26F-6135-4A42-861F-8734B5021E8C}">
      <dgm:prSet/>
      <dgm:spPr/>
      <dgm:t>
        <a:bodyPr/>
        <a:lstStyle/>
        <a:p>
          <a:endParaRPr lang="en-US"/>
        </a:p>
      </dgm:t>
    </dgm:pt>
    <dgm:pt modelId="{6AF0B477-E943-470E-9479-F3363B74625A}" type="sibTrans" cxnId="{BAADE26F-6135-4A42-861F-8734B5021E8C}">
      <dgm:prSet/>
      <dgm:spPr/>
      <dgm:t>
        <a:bodyPr/>
        <a:lstStyle/>
        <a:p>
          <a:endParaRPr lang="en-US"/>
        </a:p>
      </dgm:t>
    </dgm:pt>
    <dgm:pt modelId="{782B7E6D-275E-44FE-B64E-CF4DCB18CE03}">
      <dgm:prSet/>
      <dgm:spPr/>
      <dgm:t>
        <a:bodyPr/>
        <a:lstStyle/>
        <a:p>
          <a:pPr>
            <a:defRPr b="1"/>
          </a:pPr>
          <a:r>
            <a:rPr lang="en-US"/>
            <a:t>March</a:t>
          </a:r>
        </a:p>
      </dgm:t>
    </dgm:pt>
    <dgm:pt modelId="{7E3DD2C2-FCF7-483B-BBFA-964A0E2EAC0C}" type="parTrans" cxnId="{8DCA5369-4987-4395-B577-3F77808A3F83}">
      <dgm:prSet/>
      <dgm:spPr/>
      <dgm:t>
        <a:bodyPr/>
        <a:lstStyle/>
        <a:p>
          <a:endParaRPr lang="en-US"/>
        </a:p>
      </dgm:t>
    </dgm:pt>
    <dgm:pt modelId="{7A44FBB3-0697-4CC5-A841-27A346413981}" type="sibTrans" cxnId="{8DCA5369-4987-4395-B577-3F77808A3F83}">
      <dgm:prSet/>
      <dgm:spPr/>
      <dgm:t>
        <a:bodyPr/>
        <a:lstStyle/>
        <a:p>
          <a:endParaRPr lang="en-US"/>
        </a:p>
      </dgm:t>
    </dgm:pt>
    <dgm:pt modelId="{3941DDB8-F743-41AB-B193-8BE13A9EBF36}">
      <dgm:prSet/>
      <dgm:spPr/>
      <dgm:t>
        <a:bodyPr/>
        <a:lstStyle/>
        <a:p>
          <a:r>
            <a:rPr lang="en-US"/>
            <a:t>Safe Sleep Environment Education and Implementation</a:t>
          </a:r>
        </a:p>
      </dgm:t>
    </dgm:pt>
    <dgm:pt modelId="{58428392-E344-41F5-84FA-76EEA50DA237}" type="parTrans" cxnId="{F4F8E7B3-B5C3-4ADE-A4BF-BF9089E937FD}">
      <dgm:prSet/>
      <dgm:spPr/>
      <dgm:t>
        <a:bodyPr/>
        <a:lstStyle/>
        <a:p>
          <a:endParaRPr lang="en-US"/>
        </a:p>
      </dgm:t>
    </dgm:pt>
    <dgm:pt modelId="{6DEDE53F-E007-4201-94B1-14C6431F9A09}" type="sibTrans" cxnId="{F4F8E7B3-B5C3-4ADE-A4BF-BF9089E937FD}">
      <dgm:prSet/>
      <dgm:spPr/>
      <dgm:t>
        <a:bodyPr/>
        <a:lstStyle/>
        <a:p>
          <a:endParaRPr lang="en-US"/>
        </a:p>
      </dgm:t>
    </dgm:pt>
    <dgm:pt modelId="{08572C69-19EE-42C6-BA4D-603CD7F3307B}">
      <dgm:prSet/>
      <dgm:spPr/>
      <dgm:t>
        <a:bodyPr/>
        <a:lstStyle/>
        <a:p>
          <a:pPr>
            <a:defRPr b="1"/>
          </a:pPr>
          <a:r>
            <a:rPr lang="en-US"/>
            <a:t>April</a:t>
          </a:r>
        </a:p>
      </dgm:t>
    </dgm:pt>
    <dgm:pt modelId="{F36C70AE-C5E9-45FD-B03D-266D24EF552D}" type="parTrans" cxnId="{C7566451-E4E4-4666-9F97-113B57CFD5DA}">
      <dgm:prSet/>
      <dgm:spPr/>
      <dgm:t>
        <a:bodyPr/>
        <a:lstStyle/>
        <a:p>
          <a:endParaRPr lang="en-US"/>
        </a:p>
      </dgm:t>
    </dgm:pt>
    <dgm:pt modelId="{82A263F1-86DA-4665-B566-AA56CDF4A9BB}" type="sibTrans" cxnId="{C7566451-E4E4-4666-9F97-113B57CFD5DA}">
      <dgm:prSet/>
      <dgm:spPr/>
      <dgm:t>
        <a:bodyPr/>
        <a:lstStyle/>
        <a:p>
          <a:endParaRPr lang="en-US"/>
        </a:p>
      </dgm:t>
    </dgm:pt>
    <dgm:pt modelId="{788A36FF-269B-4055-95FF-3C5324B20379}">
      <dgm:prSet/>
      <dgm:spPr/>
      <dgm:t>
        <a:bodyPr/>
        <a:lstStyle/>
        <a:p>
          <a:r>
            <a:rPr lang="en-US"/>
            <a:t>Policy Review (AAP Safe Sleep Guidelines and reviewing polices with an equity lens) </a:t>
          </a:r>
        </a:p>
      </dgm:t>
    </dgm:pt>
    <dgm:pt modelId="{CCA24C21-3B1C-402F-8FDC-C2B89962FAF9}" type="parTrans" cxnId="{6679F8F8-4DD6-45EF-A5D8-9725BB126DC4}">
      <dgm:prSet/>
      <dgm:spPr/>
      <dgm:t>
        <a:bodyPr/>
        <a:lstStyle/>
        <a:p>
          <a:endParaRPr lang="en-US"/>
        </a:p>
      </dgm:t>
    </dgm:pt>
    <dgm:pt modelId="{C51466E5-D8D4-4B32-8450-8F1E54EA0DC1}" type="sibTrans" cxnId="{6679F8F8-4DD6-45EF-A5D8-9725BB126DC4}">
      <dgm:prSet/>
      <dgm:spPr/>
      <dgm:t>
        <a:bodyPr/>
        <a:lstStyle/>
        <a:p>
          <a:endParaRPr lang="en-US"/>
        </a:p>
      </dgm:t>
    </dgm:pt>
    <dgm:pt modelId="{9DACF67C-F2C7-4BB0-891B-22735034EE56}">
      <dgm:prSet/>
      <dgm:spPr/>
      <dgm:t>
        <a:bodyPr/>
        <a:lstStyle/>
        <a:p>
          <a:pPr>
            <a:defRPr b="1"/>
          </a:pPr>
          <a:r>
            <a:rPr lang="en-US"/>
            <a:t>May</a:t>
          </a:r>
        </a:p>
      </dgm:t>
    </dgm:pt>
    <dgm:pt modelId="{7F53CC57-155F-4B0C-BC49-1CD3FA3AA2D3}" type="parTrans" cxnId="{69545631-356E-4F19-BD8D-26C6F2396ED8}">
      <dgm:prSet/>
      <dgm:spPr/>
      <dgm:t>
        <a:bodyPr/>
        <a:lstStyle/>
        <a:p>
          <a:endParaRPr lang="en-US"/>
        </a:p>
      </dgm:t>
    </dgm:pt>
    <dgm:pt modelId="{67BA471E-783A-4701-8B8C-A920C9849F32}" type="sibTrans" cxnId="{69545631-356E-4F19-BD8D-26C6F2396ED8}">
      <dgm:prSet/>
      <dgm:spPr/>
      <dgm:t>
        <a:bodyPr/>
        <a:lstStyle/>
        <a:p>
          <a:endParaRPr lang="en-US"/>
        </a:p>
      </dgm:t>
    </dgm:pt>
    <dgm:pt modelId="{B883083D-8218-49D7-A828-1ECC3C14D9E4}">
      <dgm:prSet/>
      <dgm:spPr/>
      <dgm:t>
        <a:bodyPr/>
        <a:lstStyle/>
        <a:p>
          <a:r>
            <a:rPr lang="en-US"/>
            <a:t>2024 Face-to-Face Meeting in Springfield IL</a:t>
          </a:r>
        </a:p>
      </dgm:t>
    </dgm:pt>
    <dgm:pt modelId="{3085840A-FC05-43FB-9035-4E3F090482CE}" type="parTrans" cxnId="{C1C5D9CF-DAC4-4058-A2FB-83924AE08BCC}">
      <dgm:prSet/>
      <dgm:spPr/>
      <dgm:t>
        <a:bodyPr/>
        <a:lstStyle/>
        <a:p>
          <a:endParaRPr lang="en-US"/>
        </a:p>
      </dgm:t>
    </dgm:pt>
    <dgm:pt modelId="{B0152FBA-F1BA-4B09-9920-901A87904351}" type="sibTrans" cxnId="{C1C5D9CF-DAC4-4058-A2FB-83924AE08BCC}">
      <dgm:prSet/>
      <dgm:spPr/>
      <dgm:t>
        <a:bodyPr/>
        <a:lstStyle/>
        <a:p>
          <a:endParaRPr lang="en-US"/>
        </a:p>
      </dgm:t>
    </dgm:pt>
    <dgm:pt modelId="{A2E3FFE0-9999-4268-8734-DB850753F80D}">
      <dgm:prSet/>
      <dgm:spPr/>
      <dgm:t>
        <a:bodyPr/>
        <a:lstStyle/>
        <a:p>
          <a:pPr>
            <a:defRPr b="1"/>
          </a:pPr>
          <a:r>
            <a:rPr lang="en-US"/>
            <a:t>June</a:t>
          </a:r>
        </a:p>
      </dgm:t>
    </dgm:pt>
    <dgm:pt modelId="{6361E677-9F3D-4A4A-99E9-7CE7A5F01E13}" type="parTrans" cxnId="{65F80EA2-5680-4228-9825-E3CDA1171EEC}">
      <dgm:prSet/>
      <dgm:spPr/>
      <dgm:t>
        <a:bodyPr/>
        <a:lstStyle/>
        <a:p>
          <a:endParaRPr lang="en-US"/>
        </a:p>
      </dgm:t>
    </dgm:pt>
    <dgm:pt modelId="{25EAF25B-BEF4-4F4D-B2AD-CA7A1C39F772}" type="sibTrans" cxnId="{65F80EA2-5680-4228-9825-E3CDA1171EEC}">
      <dgm:prSet/>
      <dgm:spPr/>
      <dgm:t>
        <a:bodyPr/>
        <a:lstStyle/>
        <a:p>
          <a:endParaRPr lang="en-US"/>
        </a:p>
      </dgm:t>
    </dgm:pt>
    <dgm:pt modelId="{DCC8DE00-82BC-4FE7-898C-EE46322F74A2}">
      <dgm:prSet/>
      <dgm:spPr/>
      <dgm:t>
        <a:bodyPr/>
        <a:lstStyle/>
        <a:p>
          <a:r>
            <a:rPr lang="en-US"/>
            <a:t>Use qualified interpreters and provide information in multiple languages </a:t>
          </a:r>
        </a:p>
      </dgm:t>
    </dgm:pt>
    <dgm:pt modelId="{3CB8E035-6D16-4AC8-8498-BC3E5C909FD4}" type="parTrans" cxnId="{9CCC6C1C-B34E-4BF8-A441-D8690429EEE2}">
      <dgm:prSet/>
      <dgm:spPr/>
      <dgm:t>
        <a:bodyPr/>
        <a:lstStyle/>
        <a:p>
          <a:endParaRPr lang="en-US"/>
        </a:p>
      </dgm:t>
    </dgm:pt>
    <dgm:pt modelId="{15991261-2B68-4B79-B15A-381A2449504C}" type="sibTrans" cxnId="{9CCC6C1C-B34E-4BF8-A441-D8690429EEE2}">
      <dgm:prSet/>
      <dgm:spPr/>
      <dgm:t>
        <a:bodyPr/>
        <a:lstStyle/>
        <a:p>
          <a:endParaRPr lang="en-US"/>
        </a:p>
      </dgm:t>
    </dgm:pt>
    <dgm:pt modelId="{1BECC204-0B33-4492-B18F-BFFE0A1C4F24}" type="pres">
      <dgm:prSet presAssocID="{FF36647C-5324-4D08-BDB9-3E9B48F20DD1}" presName="root" presStyleCnt="0">
        <dgm:presLayoutVars>
          <dgm:chMax/>
          <dgm:chPref/>
          <dgm:animLvl val="lvl"/>
        </dgm:presLayoutVars>
      </dgm:prSet>
      <dgm:spPr/>
    </dgm:pt>
    <dgm:pt modelId="{3348F4B1-7F5F-4A53-A952-22DBCA5BB3EC}" type="pres">
      <dgm:prSet presAssocID="{FF36647C-5324-4D08-BDB9-3E9B48F20DD1}"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0AA2C8D3-19FD-4BCC-B35D-CCF603F7C82D}" type="pres">
      <dgm:prSet presAssocID="{FF36647C-5324-4D08-BDB9-3E9B48F20DD1}" presName="nodes" presStyleCnt="0">
        <dgm:presLayoutVars>
          <dgm:chMax/>
          <dgm:chPref/>
          <dgm:animLvl val="lvl"/>
        </dgm:presLayoutVars>
      </dgm:prSet>
      <dgm:spPr/>
    </dgm:pt>
    <dgm:pt modelId="{7647DCFA-31EF-4955-B48B-77294C2049C0}" type="pres">
      <dgm:prSet presAssocID="{888DC0D2-4444-40D9-B858-BFDAA4CDF353}" presName="composite" presStyleCnt="0"/>
      <dgm:spPr/>
    </dgm:pt>
    <dgm:pt modelId="{D22A234F-1E9D-4969-A922-A19F09F4C458}" type="pres">
      <dgm:prSet presAssocID="{888DC0D2-4444-40D9-B858-BFDAA4CDF353}"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94BEF26-121F-48B4-9A3A-6B5F50F65E99}" type="pres">
      <dgm:prSet presAssocID="{888DC0D2-4444-40D9-B858-BFDAA4CDF353}" presName="DropPinPlaceHolder" presStyleCnt="0"/>
      <dgm:spPr/>
    </dgm:pt>
    <dgm:pt modelId="{A9511F33-CA42-4152-A4A1-9DD03A2021F8}" type="pres">
      <dgm:prSet presAssocID="{888DC0D2-4444-40D9-B858-BFDAA4CDF353}" presName="DropPin" presStyleLbl="alignNode1" presStyleIdx="0" presStyleCnt="6"/>
      <dgm:spPr/>
    </dgm:pt>
    <dgm:pt modelId="{68D7ED5E-FB27-42A2-AA5A-D2F167CAF615}" type="pres">
      <dgm:prSet presAssocID="{888DC0D2-4444-40D9-B858-BFDAA4CDF353}"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FCFABF29-6938-49B1-A567-2C728891E9CA}" type="pres">
      <dgm:prSet presAssocID="{888DC0D2-4444-40D9-B858-BFDAA4CDF353}" presName="L2TextContainer" presStyleLbl="revTx" presStyleIdx="0" presStyleCnt="12">
        <dgm:presLayoutVars>
          <dgm:bulletEnabled val="1"/>
        </dgm:presLayoutVars>
      </dgm:prSet>
      <dgm:spPr/>
    </dgm:pt>
    <dgm:pt modelId="{9645BC26-64C3-4BAD-BB69-975CFA0A023B}" type="pres">
      <dgm:prSet presAssocID="{888DC0D2-4444-40D9-B858-BFDAA4CDF353}" presName="L1TextContainer" presStyleLbl="revTx" presStyleIdx="1" presStyleCnt="12">
        <dgm:presLayoutVars>
          <dgm:chMax val="1"/>
          <dgm:chPref val="1"/>
          <dgm:bulletEnabled val="1"/>
        </dgm:presLayoutVars>
      </dgm:prSet>
      <dgm:spPr/>
    </dgm:pt>
    <dgm:pt modelId="{0878A462-46B3-4B25-9268-DE75AAAA8082}" type="pres">
      <dgm:prSet presAssocID="{888DC0D2-4444-40D9-B858-BFDAA4CDF353}"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AA4F517A-B97A-4D6D-A03F-37D75BFB37CD}" type="pres">
      <dgm:prSet presAssocID="{888DC0D2-4444-40D9-B858-BFDAA4CDF353}" presName="EmptyPlaceHolder" presStyleCnt="0"/>
      <dgm:spPr/>
    </dgm:pt>
    <dgm:pt modelId="{839A820A-31DA-4797-8204-7F7EF9F5555F}" type="pres">
      <dgm:prSet presAssocID="{4EEDA2CB-0EF6-42B3-B5C1-B63D1AE6F3BD}" presName="spaceBetweenRectangles" presStyleCnt="0"/>
      <dgm:spPr/>
    </dgm:pt>
    <dgm:pt modelId="{8C66825A-5B96-44A4-805E-158B893449C4}" type="pres">
      <dgm:prSet presAssocID="{71889293-8C1F-4AD7-B68C-3FE0C7D16B13}" presName="composite" presStyleCnt="0"/>
      <dgm:spPr/>
    </dgm:pt>
    <dgm:pt modelId="{9D2E5EF5-7EEC-4C17-8531-A7A2D99FD415}" type="pres">
      <dgm:prSet presAssocID="{71889293-8C1F-4AD7-B68C-3FE0C7D16B13}" presName="ConnectorPoint" presStyleLbl="lnNode1" presStyleIdx="1" presStyleCnt="6"/>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73D0FEF-32C2-487B-9F98-8494D9AF969D}" type="pres">
      <dgm:prSet presAssocID="{71889293-8C1F-4AD7-B68C-3FE0C7D16B13}" presName="DropPinPlaceHolder" presStyleCnt="0"/>
      <dgm:spPr/>
    </dgm:pt>
    <dgm:pt modelId="{A75CD570-BD88-4B9C-A3F3-94C8F8344772}" type="pres">
      <dgm:prSet presAssocID="{71889293-8C1F-4AD7-B68C-3FE0C7D16B13}" presName="DropPin" presStyleLbl="alignNode1" presStyleIdx="1" presStyleCnt="6"/>
      <dgm:spPr/>
    </dgm:pt>
    <dgm:pt modelId="{302517CD-6564-4F8E-8536-A67BF33B4069}" type="pres">
      <dgm:prSet presAssocID="{71889293-8C1F-4AD7-B68C-3FE0C7D16B13}"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F8BF2188-6BF4-47CB-ACB2-C7EBAAA124D8}" type="pres">
      <dgm:prSet presAssocID="{71889293-8C1F-4AD7-B68C-3FE0C7D16B13}" presName="L2TextContainer" presStyleLbl="revTx" presStyleIdx="2" presStyleCnt="12">
        <dgm:presLayoutVars>
          <dgm:bulletEnabled val="1"/>
        </dgm:presLayoutVars>
      </dgm:prSet>
      <dgm:spPr/>
    </dgm:pt>
    <dgm:pt modelId="{D0934DA1-1A1E-4382-BFE9-4832C18E047F}" type="pres">
      <dgm:prSet presAssocID="{71889293-8C1F-4AD7-B68C-3FE0C7D16B13}" presName="L1TextContainer" presStyleLbl="revTx" presStyleIdx="3" presStyleCnt="12">
        <dgm:presLayoutVars>
          <dgm:chMax val="1"/>
          <dgm:chPref val="1"/>
          <dgm:bulletEnabled val="1"/>
        </dgm:presLayoutVars>
      </dgm:prSet>
      <dgm:spPr/>
    </dgm:pt>
    <dgm:pt modelId="{FC6D5085-BC9A-425C-9655-F4EAAB9422C6}" type="pres">
      <dgm:prSet presAssocID="{71889293-8C1F-4AD7-B68C-3FE0C7D16B13}" presName="ConnectLine" presStyleLbl="sibTrans1D1" presStyleIdx="1" presStyleCnt="6"/>
      <dgm:spPr>
        <a:noFill/>
        <a:ln w="12700" cap="flat" cmpd="sng" algn="ctr">
          <a:solidFill>
            <a:schemeClr val="accent3">
              <a:hueOff val="0"/>
              <a:satOff val="0"/>
              <a:lumOff val="0"/>
              <a:alphaOff val="0"/>
            </a:schemeClr>
          </a:solidFill>
          <a:prstDash val="dash"/>
          <a:miter lim="800000"/>
        </a:ln>
        <a:effectLst/>
      </dgm:spPr>
    </dgm:pt>
    <dgm:pt modelId="{7CFA46A4-9BD6-49D6-94DC-1AE13D5F412E}" type="pres">
      <dgm:prSet presAssocID="{71889293-8C1F-4AD7-B68C-3FE0C7D16B13}" presName="EmptyPlaceHolder" presStyleCnt="0"/>
      <dgm:spPr/>
    </dgm:pt>
    <dgm:pt modelId="{9B67900B-CDC5-49D7-8DC9-8FE2E33D3D7E}" type="pres">
      <dgm:prSet presAssocID="{704D613E-FC16-44F7-BE3D-38E429095BE1}" presName="spaceBetweenRectangles" presStyleCnt="0"/>
      <dgm:spPr/>
    </dgm:pt>
    <dgm:pt modelId="{3D4DFCF6-A2AE-4455-8EA6-7F92B134DC1A}" type="pres">
      <dgm:prSet presAssocID="{782B7E6D-275E-44FE-B64E-CF4DCB18CE03}" presName="composite" presStyleCnt="0"/>
      <dgm:spPr/>
    </dgm:pt>
    <dgm:pt modelId="{CC3026BE-E675-4141-8C6B-877C71AFCD1B}" type="pres">
      <dgm:prSet presAssocID="{782B7E6D-275E-44FE-B64E-CF4DCB18CE03}" presName="ConnectorPoint" presStyleLbl="lnNode1" presStyleIdx="2" presStyleCnt="6"/>
      <dgm:spPr>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3AF1427C-042E-4DCE-B899-4E00DBD112C1}" type="pres">
      <dgm:prSet presAssocID="{782B7E6D-275E-44FE-B64E-CF4DCB18CE03}" presName="DropPinPlaceHolder" presStyleCnt="0"/>
      <dgm:spPr/>
    </dgm:pt>
    <dgm:pt modelId="{03390ACF-8941-4B21-81FE-E24DE182F400}" type="pres">
      <dgm:prSet presAssocID="{782B7E6D-275E-44FE-B64E-CF4DCB18CE03}" presName="DropPin" presStyleLbl="alignNode1" presStyleIdx="2" presStyleCnt="6"/>
      <dgm:spPr/>
    </dgm:pt>
    <dgm:pt modelId="{43CE6054-7DA9-41CA-A822-B5AEFEF9A36D}" type="pres">
      <dgm:prSet presAssocID="{782B7E6D-275E-44FE-B64E-CF4DCB18CE03}"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BE565CC8-066C-44C8-A00D-95B6F78719F0}" type="pres">
      <dgm:prSet presAssocID="{782B7E6D-275E-44FE-B64E-CF4DCB18CE03}" presName="L2TextContainer" presStyleLbl="revTx" presStyleIdx="4" presStyleCnt="12">
        <dgm:presLayoutVars>
          <dgm:bulletEnabled val="1"/>
        </dgm:presLayoutVars>
      </dgm:prSet>
      <dgm:spPr/>
    </dgm:pt>
    <dgm:pt modelId="{4183CEC0-935A-410C-86C6-DD5A3092D739}" type="pres">
      <dgm:prSet presAssocID="{782B7E6D-275E-44FE-B64E-CF4DCB18CE03}" presName="L1TextContainer" presStyleLbl="revTx" presStyleIdx="5" presStyleCnt="12">
        <dgm:presLayoutVars>
          <dgm:chMax val="1"/>
          <dgm:chPref val="1"/>
          <dgm:bulletEnabled val="1"/>
        </dgm:presLayoutVars>
      </dgm:prSet>
      <dgm:spPr/>
    </dgm:pt>
    <dgm:pt modelId="{8C47003B-F241-4006-92DC-837EB791561B}" type="pres">
      <dgm:prSet presAssocID="{782B7E6D-275E-44FE-B64E-CF4DCB18CE03}" presName="ConnectLine" presStyleLbl="sibTrans1D1" presStyleIdx="2" presStyleCnt="6"/>
      <dgm:spPr>
        <a:noFill/>
        <a:ln w="12700" cap="flat" cmpd="sng" algn="ctr">
          <a:solidFill>
            <a:schemeClr val="accent4">
              <a:hueOff val="0"/>
              <a:satOff val="0"/>
              <a:lumOff val="0"/>
              <a:alphaOff val="0"/>
            </a:schemeClr>
          </a:solidFill>
          <a:prstDash val="dash"/>
          <a:miter lim="800000"/>
        </a:ln>
        <a:effectLst/>
      </dgm:spPr>
    </dgm:pt>
    <dgm:pt modelId="{984F423D-ECA1-4D55-B1B0-2AD397FD43B9}" type="pres">
      <dgm:prSet presAssocID="{782B7E6D-275E-44FE-B64E-CF4DCB18CE03}" presName="EmptyPlaceHolder" presStyleCnt="0"/>
      <dgm:spPr/>
    </dgm:pt>
    <dgm:pt modelId="{C4A8F019-51C6-4150-A9A3-7778464D4D9A}" type="pres">
      <dgm:prSet presAssocID="{7A44FBB3-0697-4CC5-A841-27A346413981}" presName="spaceBetweenRectangles" presStyleCnt="0"/>
      <dgm:spPr/>
    </dgm:pt>
    <dgm:pt modelId="{1627D70B-BA61-4CFB-8CD9-DFD6FD208DB8}" type="pres">
      <dgm:prSet presAssocID="{08572C69-19EE-42C6-BA4D-603CD7F3307B}" presName="composite" presStyleCnt="0"/>
      <dgm:spPr/>
    </dgm:pt>
    <dgm:pt modelId="{C04AE90F-AC95-43B5-B942-8D97C0918650}" type="pres">
      <dgm:prSet presAssocID="{08572C69-19EE-42C6-BA4D-603CD7F3307B}" presName="ConnectorPoint" presStyleLbl="lnNode1" presStyleIdx="3" presStyleCnt="6"/>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375F317-579E-4A58-B1AE-3DB841CCE3C7}" type="pres">
      <dgm:prSet presAssocID="{08572C69-19EE-42C6-BA4D-603CD7F3307B}" presName="DropPinPlaceHolder" presStyleCnt="0"/>
      <dgm:spPr/>
    </dgm:pt>
    <dgm:pt modelId="{6667F50D-D88C-4B95-A4A3-18B9756C037C}" type="pres">
      <dgm:prSet presAssocID="{08572C69-19EE-42C6-BA4D-603CD7F3307B}" presName="DropPin" presStyleLbl="alignNode1" presStyleIdx="3" presStyleCnt="6"/>
      <dgm:spPr/>
    </dgm:pt>
    <dgm:pt modelId="{CE1B5BCF-E41F-44D1-B630-6887D15A7398}" type="pres">
      <dgm:prSet presAssocID="{08572C69-19EE-42C6-BA4D-603CD7F3307B}"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B0EAA9EE-7BD3-411E-86E5-2BA99352C26E}" type="pres">
      <dgm:prSet presAssocID="{08572C69-19EE-42C6-BA4D-603CD7F3307B}" presName="L2TextContainer" presStyleLbl="revTx" presStyleIdx="6" presStyleCnt="12">
        <dgm:presLayoutVars>
          <dgm:bulletEnabled val="1"/>
        </dgm:presLayoutVars>
      </dgm:prSet>
      <dgm:spPr/>
    </dgm:pt>
    <dgm:pt modelId="{2FB1246F-9AFE-48AF-BDF2-C0001E8CE969}" type="pres">
      <dgm:prSet presAssocID="{08572C69-19EE-42C6-BA4D-603CD7F3307B}" presName="L1TextContainer" presStyleLbl="revTx" presStyleIdx="7" presStyleCnt="12">
        <dgm:presLayoutVars>
          <dgm:chMax val="1"/>
          <dgm:chPref val="1"/>
          <dgm:bulletEnabled val="1"/>
        </dgm:presLayoutVars>
      </dgm:prSet>
      <dgm:spPr/>
    </dgm:pt>
    <dgm:pt modelId="{60A486CB-3970-483A-B450-0DD424E81EA2}" type="pres">
      <dgm:prSet presAssocID="{08572C69-19EE-42C6-BA4D-603CD7F3307B}" presName="ConnectLine" presStyleLbl="sibTrans1D1" presStyleIdx="3" presStyleCnt="6"/>
      <dgm:spPr>
        <a:noFill/>
        <a:ln w="12700" cap="flat" cmpd="sng" algn="ctr">
          <a:solidFill>
            <a:schemeClr val="accent5">
              <a:hueOff val="0"/>
              <a:satOff val="0"/>
              <a:lumOff val="0"/>
              <a:alphaOff val="0"/>
            </a:schemeClr>
          </a:solidFill>
          <a:prstDash val="dash"/>
          <a:miter lim="800000"/>
        </a:ln>
        <a:effectLst/>
      </dgm:spPr>
    </dgm:pt>
    <dgm:pt modelId="{41F339AF-F68F-4A37-BAD3-4D68C1C35319}" type="pres">
      <dgm:prSet presAssocID="{08572C69-19EE-42C6-BA4D-603CD7F3307B}" presName="EmptyPlaceHolder" presStyleCnt="0"/>
      <dgm:spPr/>
    </dgm:pt>
    <dgm:pt modelId="{679765CD-0C4C-4A20-81BD-17500EDE937C}" type="pres">
      <dgm:prSet presAssocID="{82A263F1-86DA-4665-B566-AA56CDF4A9BB}" presName="spaceBetweenRectangles" presStyleCnt="0"/>
      <dgm:spPr/>
    </dgm:pt>
    <dgm:pt modelId="{10FB814B-C4E0-4046-964B-836A7400F5D5}" type="pres">
      <dgm:prSet presAssocID="{9DACF67C-F2C7-4BB0-891B-22735034EE56}" presName="composite" presStyleCnt="0"/>
      <dgm:spPr/>
    </dgm:pt>
    <dgm:pt modelId="{88C9072A-7971-4C81-9C00-3C768C49DB68}" type="pres">
      <dgm:prSet presAssocID="{9DACF67C-F2C7-4BB0-891B-22735034EE56}" presName="ConnectorPoint" presStyleLbl="lnNode1" presStyleIdx="4" presStyleCnt="6"/>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7A16FE5-37BD-43C7-A92B-586DC7330561}" type="pres">
      <dgm:prSet presAssocID="{9DACF67C-F2C7-4BB0-891B-22735034EE56}" presName="DropPinPlaceHolder" presStyleCnt="0"/>
      <dgm:spPr/>
    </dgm:pt>
    <dgm:pt modelId="{F5D614B9-A401-4908-A5B6-5C785767B12A}" type="pres">
      <dgm:prSet presAssocID="{9DACF67C-F2C7-4BB0-891B-22735034EE56}" presName="DropPin" presStyleLbl="alignNode1" presStyleIdx="4" presStyleCnt="6"/>
      <dgm:spPr/>
    </dgm:pt>
    <dgm:pt modelId="{A10E4821-9E9D-43D5-AF7E-3658E3CCA6D9}" type="pres">
      <dgm:prSet presAssocID="{9DACF67C-F2C7-4BB0-891B-22735034EE56}"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2A9B991F-842F-4129-B41A-36744D0D1DAF}" type="pres">
      <dgm:prSet presAssocID="{9DACF67C-F2C7-4BB0-891B-22735034EE56}" presName="L2TextContainer" presStyleLbl="revTx" presStyleIdx="8" presStyleCnt="12">
        <dgm:presLayoutVars>
          <dgm:bulletEnabled val="1"/>
        </dgm:presLayoutVars>
      </dgm:prSet>
      <dgm:spPr/>
    </dgm:pt>
    <dgm:pt modelId="{B37425C6-3D26-4CCF-BFF5-FB031B76BCAC}" type="pres">
      <dgm:prSet presAssocID="{9DACF67C-F2C7-4BB0-891B-22735034EE56}" presName="L1TextContainer" presStyleLbl="revTx" presStyleIdx="9" presStyleCnt="12">
        <dgm:presLayoutVars>
          <dgm:chMax val="1"/>
          <dgm:chPref val="1"/>
          <dgm:bulletEnabled val="1"/>
        </dgm:presLayoutVars>
      </dgm:prSet>
      <dgm:spPr/>
    </dgm:pt>
    <dgm:pt modelId="{24B3BAC8-22E0-488C-8C7D-45D0A71DFCF1}" type="pres">
      <dgm:prSet presAssocID="{9DACF67C-F2C7-4BB0-891B-22735034EE56}" presName="ConnectLine" presStyleLbl="sibTrans1D1" presStyleIdx="4" presStyleCnt="6"/>
      <dgm:spPr>
        <a:noFill/>
        <a:ln w="12700" cap="flat" cmpd="sng" algn="ctr">
          <a:solidFill>
            <a:schemeClr val="accent6">
              <a:hueOff val="0"/>
              <a:satOff val="0"/>
              <a:lumOff val="0"/>
              <a:alphaOff val="0"/>
            </a:schemeClr>
          </a:solidFill>
          <a:prstDash val="dash"/>
          <a:miter lim="800000"/>
        </a:ln>
        <a:effectLst/>
      </dgm:spPr>
    </dgm:pt>
    <dgm:pt modelId="{95BF1A3A-B469-4681-8F9B-30A2EC4CF281}" type="pres">
      <dgm:prSet presAssocID="{9DACF67C-F2C7-4BB0-891B-22735034EE56}" presName="EmptyPlaceHolder" presStyleCnt="0"/>
      <dgm:spPr/>
    </dgm:pt>
    <dgm:pt modelId="{EDD7BCFB-0E64-4494-BD88-9777C3C7D089}" type="pres">
      <dgm:prSet presAssocID="{67BA471E-783A-4701-8B8C-A920C9849F32}" presName="spaceBetweenRectangles" presStyleCnt="0"/>
      <dgm:spPr/>
    </dgm:pt>
    <dgm:pt modelId="{92191D19-5F0F-4055-9F4E-7E513F5CFF20}" type="pres">
      <dgm:prSet presAssocID="{A2E3FFE0-9999-4268-8734-DB850753F80D}" presName="composite" presStyleCnt="0"/>
      <dgm:spPr/>
    </dgm:pt>
    <dgm:pt modelId="{D6764629-0256-43E9-9304-2A75162A40BD}" type="pres">
      <dgm:prSet presAssocID="{A2E3FFE0-9999-4268-8734-DB850753F80D}" presName="ConnectorPoint" presStyleLbl="lnNode1" presStyleIdx="5"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489A80B-9845-44E3-A5A9-CAA0CC15D7F5}" type="pres">
      <dgm:prSet presAssocID="{A2E3FFE0-9999-4268-8734-DB850753F80D}" presName="DropPinPlaceHolder" presStyleCnt="0"/>
      <dgm:spPr/>
    </dgm:pt>
    <dgm:pt modelId="{16327667-BB9F-4AE2-9DE4-614AFF9D570E}" type="pres">
      <dgm:prSet presAssocID="{A2E3FFE0-9999-4268-8734-DB850753F80D}" presName="DropPin" presStyleLbl="alignNode1" presStyleIdx="5" presStyleCnt="6"/>
      <dgm:spPr/>
    </dgm:pt>
    <dgm:pt modelId="{CFD18D11-A7C8-47E9-81DA-B44E1399082D}" type="pres">
      <dgm:prSet presAssocID="{A2E3FFE0-9999-4268-8734-DB850753F80D}"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E2E86E62-E1D6-4BA3-9A6E-0EE2F5195A9B}" type="pres">
      <dgm:prSet presAssocID="{A2E3FFE0-9999-4268-8734-DB850753F80D}" presName="L2TextContainer" presStyleLbl="revTx" presStyleIdx="10" presStyleCnt="12">
        <dgm:presLayoutVars>
          <dgm:bulletEnabled val="1"/>
        </dgm:presLayoutVars>
      </dgm:prSet>
      <dgm:spPr/>
    </dgm:pt>
    <dgm:pt modelId="{E0F79C68-0658-4690-ABBE-75BF5D6FB4CE}" type="pres">
      <dgm:prSet presAssocID="{A2E3FFE0-9999-4268-8734-DB850753F80D}" presName="L1TextContainer" presStyleLbl="revTx" presStyleIdx="11" presStyleCnt="12">
        <dgm:presLayoutVars>
          <dgm:chMax val="1"/>
          <dgm:chPref val="1"/>
          <dgm:bulletEnabled val="1"/>
        </dgm:presLayoutVars>
      </dgm:prSet>
      <dgm:spPr/>
    </dgm:pt>
    <dgm:pt modelId="{E26F8033-47B9-4A2F-AFA4-759D63C0F3B1}" type="pres">
      <dgm:prSet presAssocID="{A2E3FFE0-9999-4268-8734-DB850753F80D}" presName="ConnectLine" presStyleLbl="sibTrans1D1" presStyleIdx="5" presStyleCnt="6"/>
      <dgm:spPr>
        <a:noFill/>
        <a:ln w="12700" cap="flat" cmpd="sng" algn="ctr">
          <a:solidFill>
            <a:schemeClr val="accent2">
              <a:hueOff val="0"/>
              <a:satOff val="0"/>
              <a:lumOff val="0"/>
              <a:alphaOff val="0"/>
            </a:schemeClr>
          </a:solidFill>
          <a:prstDash val="dash"/>
          <a:miter lim="800000"/>
        </a:ln>
        <a:effectLst/>
      </dgm:spPr>
    </dgm:pt>
    <dgm:pt modelId="{800EC29A-42C8-4740-A31D-95BA171F815F}" type="pres">
      <dgm:prSet presAssocID="{A2E3FFE0-9999-4268-8734-DB850753F80D}" presName="EmptyPlaceHolder" presStyleCnt="0"/>
      <dgm:spPr/>
    </dgm:pt>
  </dgm:ptLst>
  <dgm:cxnLst>
    <dgm:cxn modelId="{94473607-AF6F-47DA-A9AA-9286961CC0E8}" type="presOf" srcId="{782B7E6D-275E-44FE-B64E-CF4DCB18CE03}" destId="{4183CEC0-935A-410C-86C6-DD5A3092D739}" srcOrd="0" destOrd="0" presId="urn:microsoft.com/office/officeart/2017/3/layout/DropPinTimeline"/>
    <dgm:cxn modelId="{C55CE314-DBFC-4A66-90C4-D00FD0AD26FD}" type="presOf" srcId="{B883083D-8218-49D7-A828-1ECC3C14D9E4}" destId="{2A9B991F-842F-4129-B41A-36744D0D1DAF}" srcOrd="0" destOrd="0" presId="urn:microsoft.com/office/officeart/2017/3/layout/DropPinTimeline"/>
    <dgm:cxn modelId="{9CCC6C1C-B34E-4BF8-A441-D8690429EEE2}" srcId="{A2E3FFE0-9999-4268-8734-DB850753F80D}" destId="{DCC8DE00-82BC-4FE7-898C-EE46322F74A2}" srcOrd="0" destOrd="0" parTransId="{3CB8E035-6D16-4AC8-8498-BC3E5C909FD4}" sibTransId="{15991261-2B68-4B79-B15A-381A2449504C}"/>
    <dgm:cxn modelId="{D1029826-F304-40AB-8A45-E110812DD908}" srcId="{FF36647C-5324-4D08-BDB9-3E9B48F20DD1}" destId="{71889293-8C1F-4AD7-B68C-3FE0C7D16B13}" srcOrd="1" destOrd="0" parTransId="{FDAA98F7-80E5-459E-B1FE-A3F0CB591E6B}" sibTransId="{704D613E-FC16-44F7-BE3D-38E429095BE1}"/>
    <dgm:cxn modelId="{69545631-356E-4F19-BD8D-26C6F2396ED8}" srcId="{FF36647C-5324-4D08-BDB9-3E9B48F20DD1}" destId="{9DACF67C-F2C7-4BB0-891B-22735034EE56}" srcOrd="4" destOrd="0" parTransId="{7F53CC57-155F-4B0C-BC49-1CD3FA3AA2D3}" sibTransId="{67BA471E-783A-4701-8B8C-A920C9849F32}"/>
    <dgm:cxn modelId="{DEFE3E44-B52F-4216-A2F0-DF5907C6D1D3}" type="presOf" srcId="{A2E3FFE0-9999-4268-8734-DB850753F80D}" destId="{E0F79C68-0658-4690-ABBE-75BF5D6FB4CE}" srcOrd="0" destOrd="0" presId="urn:microsoft.com/office/officeart/2017/3/layout/DropPinTimeline"/>
    <dgm:cxn modelId="{2F57F54B-CDA7-436D-9D93-937E560F07A7}" type="presOf" srcId="{888DC0D2-4444-40D9-B858-BFDAA4CDF353}" destId="{9645BC26-64C3-4BAD-BB69-975CFA0A023B}" srcOrd="0" destOrd="0" presId="urn:microsoft.com/office/officeart/2017/3/layout/DropPinTimeline"/>
    <dgm:cxn modelId="{C7566451-E4E4-4666-9F97-113B57CFD5DA}" srcId="{FF36647C-5324-4D08-BDB9-3E9B48F20DD1}" destId="{08572C69-19EE-42C6-BA4D-603CD7F3307B}" srcOrd="3" destOrd="0" parTransId="{F36C70AE-C5E9-45FD-B03D-266D24EF552D}" sibTransId="{82A263F1-86DA-4665-B566-AA56CDF4A9BB}"/>
    <dgm:cxn modelId="{8DCA5369-4987-4395-B577-3F77808A3F83}" srcId="{FF36647C-5324-4D08-BDB9-3E9B48F20DD1}" destId="{782B7E6D-275E-44FE-B64E-CF4DCB18CE03}" srcOrd="2" destOrd="0" parTransId="{7E3DD2C2-FCF7-483B-BBFA-964A0E2EAC0C}" sibTransId="{7A44FBB3-0697-4CC5-A841-27A346413981}"/>
    <dgm:cxn modelId="{62B3BE6D-6C27-458F-9023-D37F72BE72D6}" type="presOf" srcId="{35F31090-FA02-4466-AFB5-87B6DF07BCD7}" destId="{FCFABF29-6938-49B1-A567-2C728891E9CA}" srcOrd="0" destOrd="0" presId="urn:microsoft.com/office/officeart/2017/3/layout/DropPinTimeline"/>
    <dgm:cxn modelId="{BAADE26F-6135-4A42-861F-8734B5021E8C}" srcId="{71889293-8C1F-4AD7-B68C-3FE0C7D16B13}" destId="{CD7881FF-A15F-410F-B09D-1E890C99EC42}" srcOrd="0" destOrd="0" parTransId="{E5D9AAA8-90BA-4237-8261-FCC83548659B}" sibTransId="{6AF0B477-E943-470E-9479-F3363B74625A}"/>
    <dgm:cxn modelId="{023FFB8A-CC41-4880-A25C-A982B2EAE09D}" type="presOf" srcId="{CD7881FF-A15F-410F-B09D-1E890C99EC42}" destId="{F8BF2188-6BF4-47CB-ACB2-C7EBAAA124D8}" srcOrd="0" destOrd="0" presId="urn:microsoft.com/office/officeart/2017/3/layout/DropPinTimeline"/>
    <dgm:cxn modelId="{E960518D-60D6-4F79-BB9F-34549CE5715F}" type="presOf" srcId="{71889293-8C1F-4AD7-B68C-3FE0C7D16B13}" destId="{D0934DA1-1A1E-4382-BFE9-4832C18E047F}" srcOrd="0" destOrd="0" presId="urn:microsoft.com/office/officeart/2017/3/layout/DropPinTimeline"/>
    <dgm:cxn modelId="{65F80EA2-5680-4228-9825-E3CDA1171EEC}" srcId="{FF36647C-5324-4D08-BDB9-3E9B48F20DD1}" destId="{A2E3FFE0-9999-4268-8734-DB850753F80D}" srcOrd="5" destOrd="0" parTransId="{6361E677-9F3D-4A4A-99E9-7CE7A5F01E13}" sibTransId="{25EAF25B-BEF4-4F4D-B2AD-CA7A1C39F772}"/>
    <dgm:cxn modelId="{F5A8ECA5-D200-40EA-B295-2C48EA2573E9}" type="presOf" srcId="{9DACF67C-F2C7-4BB0-891B-22735034EE56}" destId="{B37425C6-3D26-4CCF-BFF5-FB031B76BCAC}" srcOrd="0" destOrd="0" presId="urn:microsoft.com/office/officeart/2017/3/layout/DropPinTimeline"/>
    <dgm:cxn modelId="{F4F8E7B3-B5C3-4ADE-A4BF-BF9089E937FD}" srcId="{782B7E6D-275E-44FE-B64E-CF4DCB18CE03}" destId="{3941DDB8-F743-41AB-B193-8BE13A9EBF36}" srcOrd="0" destOrd="0" parTransId="{58428392-E344-41F5-84FA-76EEA50DA237}" sibTransId="{6DEDE53F-E007-4201-94B1-14C6431F9A09}"/>
    <dgm:cxn modelId="{BE4FB4BB-893E-4D70-9D8D-4A9F27996DAB}" type="presOf" srcId="{DCC8DE00-82BC-4FE7-898C-EE46322F74A2}" destId="{E2E86E62-E1D6-4BA3-9A6E-0EE2F5195A9B}" srcOrd="0" destOrd="0" presId="urn:microsoft.com/office/officeart/2017/3/layout/DropPinTimeline"/>
    <dgm:cxn modelId="{DA332ABC-6DD8-4389-AAF7-C6A73104A100}" type="presOf" srcId="{FF36647C-5324-4D08-BDB9-3E9B48F20DD1}" destId="{1BECC204-0B33-4492-B18F-BFFE0A1C4F24}" srcOrd="0" destOrd="0" presId="urn:microsoft.com/office/officeart/2017/3/layout/DropPinTimeline"/>
    <dgm:cxn modelId="{852115BD-8DBB-476D-AE59-2D18B21343B2}" type="presOf" srcId="{788A36FF-269B-4055-95FF-3C5324B20379}" destId="{B0EAA9EE-7BD3-411E-86E5-2BA99352C26E}" srcOrd="0" destOrd="0" presId="urn:microsoft.com/office/officeart/2017/3/layout/DropPinTimeline"/>
    <dgm:cxn modelId="{C1C5D9CF-DAC4-4058-A2FB-83924AE08BCC}" srcId="{9DACF67C-F2C7-4BB0-891B-22735034EE56}" destId="{B883083D-8218-49D7-A828-1ECC3C14D9E4}" srcOrd="0" destOrd="0" parTransId="{3085840A-FC05-43FB-9035-4E3F090482CE}" sibTransId="{B0152FBA-F1BA-4B09-9920-901A87904351}"/>
    <dgm:cxn modelId="{2F1EA5D0-72A7-4D63-A3B9-C55FD9D5EC85}" type="presOf" srcId="{08572C69-19EE-42C6-BA4D-603CD7F3307B}" destId="{2FB1246F-9AFE-48AF-BDF2-C0001E8CE969}" srcOrd="0" destOrd="0" presId="urn:microsoft.com/office/officeart/2017/3/layout/DropPinTimeline"/>
    <dgm:cxn modelId="{D9D49FD4-C759-4DE9-A729-2F33D8D18D67}" type="presOf" srcId="{3941DDB8-F743-41AB-B193-8BE13A9EBF36}" destId="{BE565CC8-066C-44C8-A00D-95B6F78719F0}" srcOrd="0" destOrd="0" presId="urn:microsoft.com/office/officeart/2017/3/layout/DropPinTimeline"/>
    <dgm:cxn modelId="{EFA22CE1-2C52-470A-9938-CD484B2EA0F6}" srcId="{888DC0D2-4444-40D9-B858-BFDAA4CDF353}" destId="{35F31090-FA02-4466-AFB5-87B6DF07BCD7}" srcOrd="0" destOrd="0" parTransId="{02A6F90A-4E5E-47CC-991A-2BAB3C5B6268}" sibTransId="{F084EB43-00FB-414A-AD2A-3F7880D78FB6}"/>
    <dgm:cxn modelId="{3F45C7ED-0090-4AEE-94EB-07E2C9AD936C}" srcId="{FF36647C-5324-4D08-BDB9-3E9B48F20DD1}" destId="{888DC0D2-4444-40D9-B858-BFDAA4CDF353}" srcOrd="0" destOrd="0" parTransId="{60EC43F8-DA40-49EB-BE0E-26C4F395A32F}" sibTransId="{4EEDA2CB-0EF6-42B3-B5C1-B63D1AE6F3BD}"/>
    <dgm:cxn modelId="{6679F8F8-4DD6-45EF-A5D8-9725BB126DC4}" srcId="{08572C69-19EE-42C6-BA4D-603CD7F3307B}" destId="{788A36FF-269B-4055-95FF-3C5324B20379}" srcOrd="0" destOrd="0" parTransId="{CCA24C21-3B1C-402F-8FDC-C2B89962FAF9}" sibTransId="{C51466E5-D8D4-4B32-8450-8F1E54EA0DC1}"/>
    <dgm:cxn modelId="{6A67045D-1354-440F-9A28-A42F1D9F1265}" type="presParOf" srcId="{1BECC204-0B33-4492-B18F-BFFE0A1C4F24}" destId="{3348F4B1-7F5F-4A53-A952-22DBCA5BB3EC}" srcOrd="0" destOrd="0" presId="urn:microsoft.com/office/officeart/2017/3/layout/DropPinTimeline"/>
    <dgm:cxn modelId="{3400EEBC-C979-402C-8939-06CAC4AC19CA}" type="presParOf" srcId="{1BECC204-0B33-4492-B18F-BFFE0A1C4F24}" destId="{0AA2C8D3-19FD-4BCC-B35D-CCF603F7C82D}" srcOrd="1" destOrd="0" presId="urn:microsoft.com/office/officeart/2017/3/layout/DropPinTimeline"/>
    <dgm:cxn modelId="{2F5330BE-A0DD-4392-8C5E-94750473B115}" type="presParOf" srcId="{0AA2C8D3-19FD-4BCC-B35D-CCF603F7C82D}" destId="{7647DCFA-31EF-4955-B48B-77294C2049C0}" srcOrd="0" destOrd="0" presId="urn:microsoft.com/office/officeart/2017/3/layout/DropPinTimeline"/>
    <dgm:cxn modelId="{C7421BAC-9BC9-4EEA-820A-D2D79CCF2F4E}" type="presParOf" srcId="{7647DCFA-31EF-4955-B48B-77294C2049C0}" destId="{D22A234F-1E9D-4969-A922-A19F09F4C458}" srcOrd="0" destOrd="0" presId="urn:microsoft.com/office/officeart/2017/3/layout/DropPinTimeline"/>
    <dgm:cxn modelId="{B29F44CB-8AE2-4D42-976A-5883521861B4}" type="presParOf" srcId="{7647DCFA-31EF-4955-B48B-77294C2049C0}" destId="{794BEF26-121F-48B4-9A3A-6B5F50F65E99}" srcOrd="1" destOrd="0" presId="urn:microsoft.com/office/officeart/2017/3/layout/DropPinTimeline"/>
    <dgm:cxn modelId="{6A347135-F060-4D46-ADAC-DE749FF56D65}" type="presParOf" srcId="{794BEF26-121F-48B4-9A3A-6B5F50F65E99}" destId="{A9511F33-CA42-4152-A4A1-9DD03A2021F8}" srcOrd="0" destOrd="0" presId="urn:microsoft.com/office/officeart/2017/3/layout/DropPinTimeline"/>
    <dgm:cxn modelId="{549F65AA-2C27-455D-80A9-303672782118}" type="presParOf" srcId="{794BEF26-121F-48B4-9A3A-6B5F50F65E99}" destId="{68D7ED5E-FB27-42A2-AA5A-D2F167CAF615}" srcOrd="1" destOrd="0" presId="urn:microsoft.com/office/officeart/2017/3/layout/DropPinTimeline"/>
    <dgm:cxn modelId="{7CEAF441-7F03-498D-8422-52D9584A6BB5}" type="presParOf" srcId="{7647DCFA-31EF-4955-B48B-77294C2049C0}" destId="{FCFABF29-6938-49B1-A567-2C728891E9CA}" srcOrd="2" destOrd="0" presId="urn:microsoft.com/office/officeart/2017/3/layout/DropPinTimeline"/>
    <dgm:cxn modelId="{320CA93D-6092-4754-8C68-BE338ED5E344}" type="presParOf" srcId="{7647DCFA-31EF-4955-B48B-77294C2049C0}" destId="{9645BC26-64C3-4BAD-BB69-975CFA0A023B}" srcOrd="3" destOrd="0" presId="urn:microsoft.com/office/officeart/2017/3/layout/DropPinTimeline"/>
    <dgm:cxn modelId="{8C3857A8-3D31-46CF-94C8-620479968E7A}" type="presParOf" srcId="{7647DCFA-31EF-4955-B48B-77294C2049C0}" destId="{0878A462-46B3-4B25-9268-DE75AAAA8082}" srcOrd="4" destOrd="0" presId="urn:microsoft.com/office/officeart/2017/3/layout/DropPinTimeline"/>
    <dgm:cxn modelId="{42C17B05-0ABA-4CC4-B943-D9DE73FF7019}" type="presParOf" srcId="{7647DCFA-31EF-4955-B48B-77294C2049C0}" destId="{AA4F517A-B97A-4D6D-A03F-37D75BFB37CD}" srcOrd="5" destOrd="0" presId="urn:microsoft.com/office/officeart/2017/3/layout/DropPinTimeline"/>
    <dgm:cxn modelId="{34446949-6F13-4FB6-B877-234EA599667A}" type="presParOf" srcId="{0AA2C8D3-19FD-4BCC-B35D-CCF603F7C82D}" destId="{839A820A-31DA-4797-8204-7F7EF9F5555F}" srcOrd="1" destOrd="0" presId="urn:microsoft.com/office/officeart/2017/3/layout/DropPinTimeline"/>
    <dgm:cxn modelId="{FF5964BD-0C16-4036-A42F-E0645A29956C}" type="presParOf" srcId="{0AA2C8D3-19FD-4BCC-B35D-CCF603F7C82D}" destId="{8C66825A-5B96-44A4-805E-158B893449C4}" srcOrd="2" destOrd="0" presId="urn:microsoft.com/office/officeart/2017/3/layout/DropPinTimeline"/>
    <dgm:cxn modelId="{8B76A158-1822-4755-9FB9-1A65B71995E4}" type="presParOf" srcId="{8C66825A-5B96-44A4-805E-158B893449C4}" destId="{9D2E5EF5-7EEC-4C17-8531-A7A2D99FD415}" srcOrd="0" destOrd="0" presId="urn:microsoft.com/office/officeart/2017/3/layout/DropPinTimeline"/>
    <dgm:cxn modelId="{CF9CA8AD-F398-47A7-BF48-0A4845CC86F5}" type="presParOf" srcId="{8C66825A-5B96-44A4-805E-158B893449C4}" destId="{073D0FEF-32C2-487B-9F98-8494D9AF969D}" srcOrd="1" destOrd="0" presId="urn:microsoft.com/office/officeart/2017/3/layout/DropPinTimeline"/>
    <dgm:cxn modelId="{21B5DB09-4954-4266-8643-D2E07131F88F}" type="presParOf" srcId="{073D0FEF-32C2-487B-9F98-8494D9AF969D}" destId="{A75CD570-BD88-4B9C-A3F3-94C8F8344772}" srcOrd="0" destOrd="0" presId="urn:microsoft.com/office/officeart/2017/3/layout/DropPinTimeline"/>
    <dgm:cxn modelId="{5502604D-F939-4B2C-B045-53E8A70A58DA}" type="presParOf" srcId="{073D0FEF-32C2-487B-9F98-8494D9AF969D}" destId="{302517CD-6564-4F8E-8536-A67BF33B4069}" srcOrd="1" destOrd="0" presId="urn:microsoft.com/office/officeart/2017/3/layout/DropPinTimeline"/>
    <dgm:cxn modelId="{11819EBB-A86F-473C-A06F-9DD6EC596FB5}" type="presParOf" srcId="{8C66825A-5B96-44A4-805E-158B893449C4}" destId="{F8BF2188-6BF4-47CB-ACB2-C7EBAAA124D8}" srcOrd="2" destOrd="0" presId="urn:microsoft.com/office/officeart/2017/3/layout/DropPinTimeline"/>
    <dgm:cxn modelId="{DD292452-E187-4812-870A-E21111532A7F}" type="presParOf" srcId="{8C66825A-5B96-44A4-805E-158B893449C4}" destId="{D0934DA1-1A1E-4382-BFE9-4832C18E047F}" srcOrd="3" destOrd="0" presId="urn:microsoft.com/office/officeart/2017/3/layout/DropPinTimeline"/>
    <dgm:cxn modelId="{26F036F4-3983-43A5-B5CC-52FD8ED089DA}" type="presParOf" srcId="{8C66825A-5B96-44A4-805E-158B893449C4}" destId="{FC6D5085-BC9A-425C-9655-F4EAAB9422C6}" srcOrd="4" destOrd="0" presId="urn:microsoft.com/office/officeart/2017/3/layout/DropPinTimeline"/>
    <dgm:cxn modelId="{767E848F-F165-4ABD-8F61-587CA5E93B40}" type="presParOf" srcId="{8C66825A-5B96-44A4-805E-158B893449C4}" destId="{7CFA46A4-9BD6-49D6-94DC-1AE13D5F412E}" srcOrd="5" destOrd="0" presId="urn:microsoft.com/office/officeart/2017/3/layout/DropPinTimeline"/>
    <dgm:cxn modelId="{4EA020F6-F55E-4D45-80FA-D6B638AE141E}" type="presParOf" srcId="{0AA2C8D3-19FD-4BCC-B35D-CCF603F7C82D}" destId="{9B67900B-CDC5-49D7-8DC9-8FE2E33D3D7E}" srcOrd="3" destOrd="0" presId="urn:microsoft.com/office/officeart/2017/3/layout/DropPinTimeline"/>
    <dgm:cxn modelId="{415A46C0-2283-44FF-915C-034A03DFB1A9}" type="presParOf" srcId="{0AA2C8D3-19FD-4BCC-B35D-CCF603F7C82D}" destId="{3D4DFCF6-A2AE-4455-8EA6-7F92B134DC1A}" srcOrd="4" destOrd="0" presId="urn:microsoft.com/office/officeart/2017/3/layout/DropPinTimeline"/>
    <dgm:cxn modelId="{6BF9F790-C0F3-483D-97F5-835AA42DCCCA}" type="presParOf" srcId="{3D4DFCF6-A2AE-4455-8EA6-7F92B134DC1A}" destId="{CC3026BE-E675-4141-8C6B-877C71AFCD1B}" srcOrd="0" destOrd="0" presId="urn:microsoft.com/office/officeart/2017/3/layout/DropPinTimeline"/>
    <dgm:cxn modelId="{8F749BEB-EBEA-4701-9BB5-110EC3C0F436}" type="presParOf" srcId="{3D4DFCF6-A2AE-4455-8EA6-7F92B134DC1A}" destId="{3AF1427C-042E-4DCE-B899-4E00DBD112C1}" srcOrd="1" destOrd="0" presId="urn:microsoft.com/office/officeart/2017/3/layout/DropPinTimeline"/>
    <dgm:cxn modelId="{CC99A7F0-0A73-4B2A-88A4-113E711A26CC}" type="presParOf" srcId="{3AF1427C-042E-4DCE-B899-4E00DBD112C1}" destId="{03390ACF-8941-4B21-81FE-E24DE182F400}" srcOrd="0" destOrd="0" presId="urn:microsoft.com/office/officeart/2017/3/layout/DropPinTimeline"/>
    <dgm:cxn modelId="{811285A6-B995-42A7-9DFD-50E8C0FAC27B}" type="presParOf" srcId="{3AF1427C-042E-4DCE-B899-4E00DBD112C1}" destId="{43CE6054-7DA9-41CA-A822-B5AEFEF9A36D}" srcOrd="1" destOrd="0" presId="urn:microsoft.com/office/officeart/2017/3/layout/DropPinTimeline"/>
    <dgm:cxn modelId="{AD96CE97-29BA-4085-8390-F1258EC25ACF}" type="presParOf" srcId="{3D4DFCF6-A2AE-4455-8EA6-7F92B134DC1A}" destId="{BE565CC8-066C-44C8-A00D-95B6F78719F0}" srcOrd="2" destOrd="0" presId="urn:microsoft.com/office/officeart/2017/3/layout/DropPinTimeline"/>
    <dgm:cxn modelId="{708B1D52-6D57-4751-8D51-3F644342C3D8}" type="presParOf" srcId="{3D4DFCF6-A2AE-4455-8EA6-7F92B134DC1A}" destId="{4183CEC0-935A-410C-86C6-DD5A3092D739}" srcOrd="3" destOrd="0" presId="urn:microsoft.com/office/officeart/2017/3/layout/DropPinTimeline"/>
    <dgm:cxn modelId="{1E192408-7A1B-4667-B04A-72AB1A5F39A6}" type="presParOf" srcId="{3D4DFCF6-A2AE-4455-8EA6-7F92B134DC1A}" destId="{8C47003B-F241-4006-92DC-837EB791561B}" srcOrd="4" destOrd="0" presId="urn:microsoft.com/office/officeart/2017/3/layout/DropPinTimeline"/>
    <dgm:cxn modelId="{21786ED5-6784-4CD2-BED0-B0167FCC003D}" type="presParOf" srcId="{3D4DFCF6-A2AE-4455-8EA6-7F92B134DC1A}" destId="{984F423D-ECA1-4D55-B1B0-2AD397FD43B9}" srcOrd="5" destOrd="0" presId="urn:microsoft.com/office/officeart/2017/3/layout/DropPinTimeline"/>
    <dgm:cxn modelId="{5962FF41-4E8D-408D-9421-0D522727A31C}" type="presParOf" srcId="{0AA2C8D3-19FD-4BCC-B35D-CCF603F7C82D}" destId="{C4A8F019-51C6-4150-A9A3-7778464D4D9A}" srcOrd="5" destOrd="0" presId="urn:microsoft.com/office/officeart/2017/3/layout/DropPinTimeline"/>
    <dgm:cxn modelId="{30F3A29A-AF88-4D2A-AD10-6E2218883C49}" type="presParOf" srcId="{0AA2C8D3-19FD-4BCC-B35D-CCF603F7C82D}" destId="{1627D70B-BA61-4CFB-8CD9-DFD6FD208DB8}" srcOrd="6" destOrd="0" presId="urn:microsoft.com/office/officeart/2017/3/layout/DropPinTimeline"/>
    <dgm:cxn modelId="{FB274EBD-6DC7-445F-83F4-B0A005288D97}" type="presParOf" srcId="{1627D70B-BA61-4CFB-8CD9-DFD6FD208DB8}" destId="{C04AE90F-AC95-43B5-B942-8D97C0918650}" srcOrd="0" destOrd="0" presId="urn:microsoft.com/office/officeart/2017/3/layout/DropPinTimeline"/>
    <dgm:cxn modelId="{1FC3FC91-B01A-4DD8-8680-A597376F8EF2}" type="presParOf" srcId="{1627D70B-BA61-4CFB-8CD9-DFD6FD208DB8}" destId="{A375F317-579E-4A58-B1AE-3DB841CCE3C7}" srcOrd="1" destOrd="0" presId="urn:microsoft.com/office/officeart/2017/3/layout/DropPinTimeline"/>
    <dgm:cxn modelId="{7DAE3E81-6628-45C0-A4A6-28776692FD6A}" type="presParOf" srcId="{A375F317-579E-4A58-B1AE-3DB841CCE3C7}" destId="{6667F50D-D88C-4B95-A4A3-18B9756C037C}" srcOrd="0" destOrd="0" presId="urn:microsoft.com/office/officeart/2017/3/layout/DropPinTimeline"/>
    <dgm:cxn modelId="{7C8A3F87-1C6A-4785-B4A2-FA74B422570C}" type="presParOf" srcId="{A375F317-579E-4A58-B1AE-3DB841CCE3C7}" destId="{CE1B5BCF-E41F-44D1-B630-6887D15A7398}" srcOrd="1" destOrd="0" presId="urn:microsoft.com/office/officeart/2017/3/layout/DropPinTimeline"/>
    <dgm:cxn modelId="{42A1AC80-780E-40F1-8D01-5B4452BC2EA2}" type="presParOf" srcId="{1627D70B-BA61-4CFB-8CD9-DFD6FD208DB8}" destId="{B0EAA9EE-7BD3-411E-86E5-2BA99352C26E}" srcOrd="2" destOrd="0" presId="urn:microsoft.com/office/officeart/2017/3/layout/DropPinTimeline"/>
    <dgm:cxn modelId="{A020CE66-6498-407E-8F0C-F70A679512B9}" type="presParOf" srcId="{1627D70B-BA61-4CFB-8CD9-DFD6FD208DB8}" destId="{2FB1246F-9AFE-48AF-BDF2-C0001E8CE969}" srcOrd="3" destOrd="0" presId="urn:microsoft.com/office/officeart/2017/3/layout/DropPinTimeline"/>
    <dgm:cxn modelId="{DE47D8C3-BDC5-421D-A9D7-59A189B3D10B}" type="presParOf" srcId="{1627D70B-BA61-4CFB-8CD9-DFD6FD208DB8}" destId="{60A486CB-3970-483A-B450-0DD424E81EA2}" srcOrd="4" destOrd="0" presId="urn:microsoft.com/office/officeart/2017/3/layout/DropPinTimeline"/>
    <dgm:cxn modelId="{2F4BD41C-253E-4EAA-9D2B-3ADFA4F11CD5}" type="presParOf" srcId="{1627D70B-BA61-4CFB-8CD9-DFD6FD208DB8}" destId="{41F339AF-F68F-4A37-BAD3-4D68C1C35319}" srcOrd="5" destOrd="0" presId="urn:microsoft.com/office/officeart/2017/3/layout/DropPinTimeline"/>
    <dgm:cxn modelId="{00AA0129-1B6C-4281-BA68-BA42E3271CF1}" type="presParOf" srcId="{0AA2C8D3-19FD-4BCC-B35D-CCF603F7C82D}" destId="{679765CD-0C4C-4A20-81BD-17500EDE937C}" srcOrd="7" destOrd="0" presId="urn:microsoft.com/office/officeart/2017/3/layout/DropPinTimeline"/>
    <dgm:cxn modelId="{D977D28C-ED46-48FD-A996-8098CCEFFC41}" type="presParOf" srcId="{0AA2C8D3-19FD-4BCC-B35D-CCF603F7C82D}" destId="{10FB814B-C4E0-4046-964B-836A7400F5D5}" srcOrd="8" destOrd="0" presId="urn:microsoft.com/office/officeart/2017/3/layout/DropPinTimeline"/>
    <dgm:cxn modelId="{E8A22D41-670E-4BF0-9F37-A6F88F2874DF}" type="presParOf" srcId="{10FB814B-C4E0-4046-964B-836A7400F5D5}" destId="{88C9072A-7971-4C81-9C00-3C768C49DB68}" srcOrd="0" destOrd="0" presId="urn:microsoft.com/office/officeart/2017/3/layout/DropPinTimeline"/>
    <dgm:cxn modelId="{E5967F9F-7178-4817-981F-0F51807C5276}" type="presParOf" srcId="{10FB814B-C4E0-4046-964B-836A7400F5D5}" destId="{27A16FE5-37BD-43C7-A92B-586DC7330561}" srcOrd="1" destOrd="0" presId="urn:microsoft.com/office/officeart/2017/3/layout/DropPinTimeline"/>
    <dgm:cxn modelId="{C2BC39FB-E92A-4A16-834D-251939077C79}" type="presParOf" srcId="{27A16FE5-37BD-43C7-A92B-586DC7330561}" destId="{F5D614B9-A401-4908-A5B6-5C785767B12A}" srcOrd="0" destOrd="0" presId="urn:microsoft.com/office/officeart/2017/3/layout/DropPinTimeline"/>
    <dgm:cxn modelId="{C17D6FA1-3707-4001-903B-EC26B4FB537B}" type="presParOf" srcId="{27A16FE5-37BD-43C7-A92B-586DC7330561}" destId="{A10E4821-9E9D-43D5-AF7E-3658E3CCA6D9}" srcOrd="1" destOrd="0" presId="urn:microsoft.com/office/officeart/2017/3/layout/DropPinTimeline"/>
    <dgm:cxn modelId="{7CFF131E-F01C-471B-9E5C-B4AC966BD036}" type="presParOf" srcId="{10FB814B-C4E0-4046-964B-836A7400F5D5}" destId="{2A9B991F-842F-4129-B41A-36744D0D1DAF}" srcOrd="2" destOrd="0" presId="urn:microsoft.com/office/officeart/2017/3/layout/DropPinTimeline"/>
    <dgm:cxn modelId="{FA91CB86-2717-4126-9675-FE77488A118E}" type="presParOf" srcId="{10FB814B-C4E0-4046-964B-836A7400F5D5}" destId="{B37425C6-3D26-4CCF-BFF5-FB031B76BCAC}" srcOrd="3" destOrd="0" presId="urn:microsoft.com/office/officeart/2017/3/layout/DropPinTimeline"/>
    <dgm:cxn modelId="{17B14DDF-F5FE-434E-A5D9-DCBE5EBAB2C9}" type="presParOf" srcId="{10FB814B-C4E0-4046-964B-836A7400F5D5}" destId="{24B3BAC8-22E0-488C-8C7D-45D0A71DFCF1}" srcOrd="4" destOrd="0" presId="urn:microsoft.com/office/officeart/2017/3/layout/DropPinTimeline"/>
    <dgm:cxn modelId="{41CBC4C9-9241-40FE-9382-52818ED01737}" type="presParOf" srcId="{10FB814B-C4E0-4046-964B-836A7400F5D5}" destId="{95BF1A3A-B469-4681-8F9B-30A2EC4CF281}" srcOrd="5" destOrd="0" presId="urn:microsoft.com/office/officeart/2017/3/layout/DropPinTimeline"/>
    <dgm:cxn modelId="{D11AE649-3A53-4AFA-8542-E830A4FD9A12}" type="presParOf" srcId="{0AA2C8D3-19FD-4BCC-B35D-CCF603F7C82D}" destId="{EDD7BCFB-0E64-4494-BD88-9777C3C7D089}" srcOrd="9" destOrd="0" presId="urn:microsoft.com/office/officeart/2017/3/layout/DropPinTimeline"/>
    <dgm:cxn modelId="{F1D90775-9E7D-482F-9A4A-97989273414E}" type="presParOf" srcId="{0AA2C8D3-19FD-4BCC-B35D-CCF603F7C82D}" destId="{92191D19-5F0F-4055-9F4E-7E513F5CFF20}" srcOrd="10" destOrd="0" presId="urn:microsoft.com/office/officeart/2017/3/layout/DropPinTimeline"/>
    <dgm:cxn modelId="{5620E10E-7F4C-41B1-9C32-F791287DD0CF}" type="presParOf" srcId="{92191D19-5F0F-4055-9F4E-7E513F5CFF20}" destId="{D6764629-0256-43E9-9304-2A75162A40BD}" srcOrd="0" destOrd="0" presId="urn:microsoft.com/office/officeart/2017/3/layout/DropPinTimeline"/>
    <dgm:cxn modelId="{EC99C47E-3688-4ECC-9402-80F616B4A61F}" type="presParOf" srcId="{92191D19-5F0F-4055-9F4E-7E513F5CFF20}" destId="{D489A80B-9845-44E3-A5A9-CAA0CC15D7F5}" srcOrd="1" destOrd="0" presId="urn:microsoft.com/office/officeart/2017/3/layout/DropPinTimeline"/>
    <dgm:cxn modelId="{A421B55C-86E7-4D9A-866B-899199CB75A8}" type="presParOf" srcId="{D489A80B-9845-44E3-A5A9-CAA0CC15D7F5}" destId="{16327667-BB9F-4AE2-9DE4-614AFF9D570E}" srcOrd="0" destOrd="0" presId="urn:microsoft.com/office/officeart/2017/3/layout/DropPinTimeline"/>
    <dgm:cxn modelId="{47F85E29-976D-48A1-AA8D-5AB53637279D}" type="presParOf" srcId="{D489A80B-9845-44E3-A5A9-CAA0CC15D7F5}" destId="{CFD18D11-A7C8-47E9-81DA-B44E1399082D}" srcOrd="1" destOrd="0" presId="urn:microsoft.com/office/officeart/2017/3/layout/DropPinTimeline"/>
    <dgm:cxn modelId="{C8F27549-5C96-4BCD-8A58-E0417B6F10C7}" type="presParOf" srcId="{92191D19-5F0F-4055-9F4E-7E513F5CFF20}" destId="{E2E86E62-E1D6-4BA3-9A6E-0EE2F5195A9B}" srcOrd="2" destOrd="0" presId="urn:microsoft.com/office/officeart/2017/3/layout/DropPinTimeline"/>
    <dgm:cxn modelId="{83664170-82C7-4F2E-B368-DC7EF4EF4C6A}" type="presParOf" srcId="{92191D19-5F0F-4055-9F4E-7E513F5CFF20}" destId="{E0F79C68-0658-4690-ABBE-75BF5D6FB4CE}" srcOrd="3" destOrd="0" presId="urn:microsoft.com/office/officeart/2017/3/layout/DropPinTimeline"/>
    <dgm:cxn modelId="{6444DB2D-0C58-40F2-91C2-4D74DED454AE}" type="presParOf" srcId="{92191D19-5F0F-4055-9F4E-7E513F5CFF20}" destId="{E26F8033-47B9-4A2F-AFA4-759D63C0F3B1}" srcOrd="4" destOrd="0" presId="urn:microsoft.com/office/officeart/2017/3/layout/DropPinTimeline"/>
    <dgm:cxn modelId="{9B2BF7D2-B370-486B-A389-950AC455F839}" type="presParOf" srcId="{92191D19-5F0F-4055-9F4E-7E513F5CFF20}" destId="{800EC29A-42C8-4740-A31D-95BA171F815F}"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92D7955-ED37-4307-8B43-930E3549722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791CF79E-0B46-45D5-8449-713850CA0E01}">
      <dgm:prSet/>
      <dgm:spPr/>
      <dgm:t>
        <a:bodyPr/>
        <a:lstStyle/>
        <a:p>
          <a:r>
            <a:rPr lang="en-US" b="0" i="0" dirty="0"/>
            <a:t>This is a long initiative! We cannot do all of this work at once.</a:t>
          </a:r>
          <a:endParaRPr lang="en-US" dirty="0"/>
        </a:p>
      </dgm:t>
    </dgm:pt>
    <dgm:pt modelId="{9DEB71D8-7D13-4B31-8F85-AC350DEDAD9B}" type="parTrans" cxnId="{1FB40200-3789-4E1C-BD07-90C46FFE26F0}">
      <dgm:prSet/>
      <dgm:spPr/>
      <dgm:t>
        <a:bodyPr/>
        <a:lstStyle/>
        <a:p>
          <a:endParaRPr lang="en-US"/>
        </a:p>
      </dgm:t>
    </dgm:pt>
    <dgm:pt modelId="{E6EA9753-ACF5-479E-B875-BE4EF4612C3D}" type="sibTrans" cxnId="{1FB40200-3789-4E1C-BD07-90C46FFE26F0}">
      <dgm:prSet/>
      <dgm:spPr/>
      <dgm:t>
        <a:bodyPr/>
        <a:lstStyle/>
        <a:p>
          <a:endParaRPr lang="en-US"/>
        </a:p>
      </dgm:t>
    </dgm:pt>
    <dgm:pt modelId="{30B4E765-1277-44DD-85D0-B84EAAE179A7}">
      <dgm:prSet/>
      <dgm:spPr/>
      <dgm:t>
        <a:bodyPr/>
        <a:lstStyle/>
        <a:p>
          <a:pPr rtl="0"/>
          <a:r>
            <a:rPr lang="en-US" b="0" i="0" dirty="0"/>
            <a:t>We will work together </a:t>
          </a:r>
          <a:r>
            <a:rPr lang="en-US" b="0" i="0" dirty="0">
              <a:latin typeface="Calibri" panose="020F0502020204030204"/>
            </a:rPr>
            <a:t>to </a:t>
          </a:r>
          <a:r>
            <a:rPr lang="en-US" b="0" i="0" dirty="0"/>
            <a:t>implement strategies one </a:t>
          </a:r>
          <a:r>
            <a:rPr lang="en-US" b="0" i="0" dirty="0">
              <a:latin typeface="Calibri" panose="020F0502020204030204"/>
            </a:rPr>
            <a:t>driver</a:t>
          </a:r>
          <a:r>
            <a:rPr lang="en-US" b="0" i="0" dirty="0"/>
            <a:t> at a time</a:t>
          </a:r>
          <a:endParaRPr lang="en-US" dirty="0"/>
        </a:p>
      </dgm:t>
    </dgm:pt>
    <dgm:pt modelId="{9135B828-5368-4CAD-9FAE-B80A5DD9E89D}" type="parTrans" cxnId="{BC496F6D-40E9-4D5C-807D-C92DC8F3D788}">
      <dgm:prSet/>
      <dgm:spPr/>
      <dgm:t>
        <a:bodyPr/>
        <a:lstStyle/>
        <a:p>
          <a:endParaRPr lang="en-US"/>
        </a:p>
      </dgm:t>
    </dgm:pt>
    <dgm:pt modelId="{CB06E9C3-8860-4A5C-8406-2F2AD2D887AE}" type="sibTrans" cxnId="{BC496F6D-40E9-4D5C-807D-C92DC8F3D788}">
      <dgm:prSet/>
      <dgm:spPr/>
      <dgm:t>
        <a:bodyPr/>
        <a:lstStyle/>
        <a:p>
          <a:endParaRPr lang="en-US"/>
        </a:p>
      </dgm:t>
    </dgm:pt>
    <dgm:pt modelId="{C3A0B9EB-5179-4F59-A773-C77D69483D33}">
      <dgm:prSet/>
      <dgm:spPr/>
      <dgm:t>
        <a:bodyPr/>
        <a:lstStyle/>
        <a:p>
          <a:r>
            <a:rPr lang="en-US" b="0" i="0" dirty="0"/>
            <a:t>Get started by working on implementing the 10 Steps Getting Started!</a:t>
          </a:r>
          <a:endParaRPr lang="en-US" dirty="0"/>
        </a:p>
      </dgm:t>
    </dgm:pt>
    <dgm:pt modelId="{55221910-2230-4C1C-A80A-2C1FBB3515EF}" type="parTrans" cxnId="{27FA333B-AE8D-4B2E-8A1C-98622BACD314}">
      <dgm:prSet/>
      <dgm:spPr/>
      <dgm:t>
        <a:bodyPr/>
        <a:lstStyle/>
        <a:p>
          <a:endParaRPr lang="en-US"/>
        </a:p>
      </dgm:t>
    </dgm:pt>
    <dgm:pt modelId="{5925FD1D-99A7-4F82-B9A7-11C29E93FB12}" type="sibTrans" cxnId="{27FA333B-AE8D-4B2E-8A1C-98622BACD314}">
      <dgm:prSet/>
      <dgm:spPr/>
      <dgm:t>
        <a:bodyPr/>
        <a:lstStyle/>
        <a:p>
          <a:endParaRPr lang="en-US"/>
        </a:p>
      </dgm:t>
    </dgm:pt>
    <dgm:pt modelId="{DDE1F7BD-6E20-454A-B72F-266F21001763}" type="pres">
      <dgm:prSet presAssocID="{D92D7955-ED37-4307-8B43-930E35497224}" presName="root" presStyleCnt="0">
        <dgm:presLayoutVars>
          <dgm:dir/>
          <dgm:resizeHandles val="exact"/>
        </dgm:presLayoutVars>
      </dgm:prSet>
      <dgm:spPr/>
    </dgm:pt>
    <dgm:pt modelId="{AB93F43D-C8DB-4B16-9DE4-1999ACDAEDEA}" type="pres">
      <dgm:prSet presAssocID="{791CF79E-0B46-45D5-8449-713850CA0E01}" presName="compNode" presStyleCnt="0"/>
      <dgm:spPr/>
    </dgm:pt>
    <dgm:pt modelId="{BDFD5029-1132-4CB6-9206-F38DE2B31927}" type="pres">
      <dgm:prSet presAssocID="{791CF79E-0B46-45D5-8449-713850CA0E01}" presName="bgRect" presStyleLbl="bgShp" presStyleIdx="0" presStyleCnt="3"/>
      <dgm:spPr/>
    </dgm:pt>
    <dgm:pt modelId="{9AC8E2A8-244A-4D57-A672-A6EC0FE1EBF9}" type="pres">
      <dgm:prSet presAssocID="{791CF79E-0B46-45D5-8449-713850CA0E0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thly calendar"/>
        </a:ext>
      </dgm:extLst>
    </dgm:pt>
    <dgm:pt modelId="{AB7BDBAB-439B-4947-A50A-ABEB62F16460}" type="pres">
      <dgm:prSet presAssocID="{791CF79E-0B46-45D5-8449-713850CA0E01}" presName="spaceRect" presStyleCnt="0"/>
      <dgm:spPr/>
    </dgm:pt>
    <dgm:pt modelId="{FB5B16BC-89C5-477A-B28E-3F12309BD611}" type="pres">
      <dgm:prSet presAssocID="{791CF79E-0B46-45D5-8449-713850CA0E01}" presName="parTx" presStyleLbl="revTx" presStyleIdx="0" presStyleCnt="3">
        <dgm:presLayoutVars>
          <dgm:chMax val="0"/>
          <dgm:chPref val="0"/>
        </dgm:presLayoutVars>
      </dgm:prSet>
      <dgm:spPr/>
    </dgm:pt>
    <dgm:pt modelId="{A133680D-E5C7-43D6-8D41-2B3A6436047A}" type="pres">
      <dgm:prSet presAssocID="{E6EA9753-ACF5-479E-B875-BE4EF4612C3D}" presName="sibTrans" presStyleCnt="0"/>
      <dgm:spPr/>
    </dgm:pt>
    <dgm:pt modelId="{E4B40693-F01D-47E8-86C5-3E5AF71C729A}" type="pres">
      <dgm:prSet presAssocID="{30B4E765-1277-44DD-85D0-B84EAAE179A7}" presName="compNode" presStyleCnt="0"/>
      <dgm:spPr/>
    </dgm:pt>
    <dgm:pt modelId="{BEBA2235-AABC-4867-B992-D6D078590A62}" type="pres">
      <dgm:prSet presAssocID="{30B4E765-1277-44DD-85D0-B84EAAE179A7}" presName="bgRect" presStyleLbl="bgShp" presStyleIdx="1" presStyleCnt="3"/>
      <dgm:spPr/>
    </dgm:pt>
    <dgm:pt modelId="{20F7F6B9-14E4-404F-A58D-C59BB37946D5}" type="pres">
      <dgm:prSet presAssocID="{30B4E765-1277-44DD-85D0-B84EAAE17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outline"/>
        </a:ext>
      </dgm:extLst>
    </dgm:pt>
    <dgm:pt modelId="{9A66C286-5820-40DB-9AF5-F5F9F32431BE}" type="pres">
      <dgm:prSet presAssocID="{30B4E765-1277-44DD-85D0-B84EAAE179A7}" presName="spaceRect" presStyleCnt="0"/>
      <dgm:spPr/>
    </dgm:pt>
    <dgm:pt modelId="{BA179529-18A6-4989-8434-F20D2288611B}" type="pres">
      <dgm:prSet presAssocID="{30B4E765-1277-44DD-85D0-B84EAAE179A7}" presName="parTx" presStyleLbl="revTx" presStyleIdx="1" presStyleCnt="3">
        <dgm:presLayoutVars>
          <dgm:chMax val="0"/>
          <dgm:chPref val="0"/>
        </dgm:presLayoutVars>
      </dgm:prSet>
      <dgm:spPr/>
    </dgm:pt>
    <dgm:pt modelId="{03CFC4F6-E014-4C17-8FCD-1DFFE68CDEE4}" type="pres">
      <dgm:prSet presAssocID="{CB06E9C3-8860-4A5C-8406-2F2AD2D887AE}" presName="sibTrans" presStyleCnt="0"/>
      <dgm:spPr/>
    </dgm:pt>
    <dgm:pt modelId="{9D54F3C9-7279-4C36-8DCB-0D4D9B2DEE0F}" type="pres">
      <dgm:prSet presAssocID="{C3A0B9EB-5179-4F59-A773-C77D69483D33}" presName="compNode" presStyleCnt="0"/>
      <dgm:spPr/>
    </dgm:pt>
    <dgm:pt modelId="{5F250659-753E-4077-AA7C-9ED0D6CDE608}" type="pres">
      <dgm:prSet presAssocID="{C3A0B9EB-5179-4F59-A773-C77D69483D33}" presName="bgRect" presStyleLbl="bgShp" presStyleIdx="2" presStyleCnt="3"/>
      <dgm:spPr/>
    </dgm:pt>
    <dgm:pt modelId="{61CB9427-5B5C-46C6-BFA7-2602FD506DA3}" type="pres">
      <dgm:prSet presAssocID="{C3A0B9EB-5179-4F59-A773-C77D69483D3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orkflow"/>
        </a:ext>
      </dgm:extLst>
    </dgm:pt>
    <dgm:pt modelId="{CCC7508B-B5FA-4961-A214-167CFFD96237}" type="pres">
      <dgm:prSet presAssocID="{C3A0B9EB-5179-4F59-A773-C77D69483D33}" presName="spaceRect" presStyleCnt="0"/>
      <dgm:spPr/>
    </dgm:pt>
    <dgm:pt modelId="{4C5993AF-0D3C-423B-AC04-58DD1DCA88ED}" type="pres">
      <dgm:prSet presAssocID="{C3A0B9EB-5179-4F59-A773-C77D69483D33}" presName="parTx" presStyleLbl="revTx" presStyleIdx="2" presStyleCnt="3">
        <dgm:presLayoutVars>
          <dgm:chMax val="0"/>
          <dgm:chPref val="0"/>
        </dgm:presLayoutVars>
      </dgm:prSet>
      <dgm:spPr/>
    </dgm:pt>
  </dgm:ptLst>
  <dgm:cxnLst>
    <dgm:cxn modelId="{1FB40200-3789-4E1C-BD07-90C46FFE26F0}" srcId="{D92D7955-ED37-4307-8B43-930E35497224}" destId="{791CF79E-0B46-45D5-8449-713850CA0E01}" srcOrd="0" destOrd="0" parTransId="{9DEB71D8-7D13-4B31-8F85-AC350DEDAD9B}" sibTransId="{E6EA9753-ACF5-479E-B875-BE4EF4612C3D}"/>
    <dgm:cxn modelId="{27FA333B-AE8D-4B2E-8A1C-98622BACD314}" srcId="{D92D7955-ED37-4307-8B43-930E35497224}" destId="{C3A0B9EB-5179-4F59-A773-C77D69483D33}" srcOrd="2" destOrd="0" parTransId="{55221910-2230-4C1C-A80A-2C1FBB3515EF}" sibTransId="{5925FD1D-99A7-4F82-B9A7-11C29E93FB12}"/>
    <dgm:cxn modelId="{EF311F54-536A-454C-93FB-ABF612AB9585}" type="presOf" srcId="{C3A0B9EB-5179-4F59-A773-C77D69483D33}" destId="{4C5993AF-0D3C-423B-AC04-58DD1DCA88ED}" srcOrd="0" destOrd="0" presId="urn:microsoft.com/office/officeart/2018/2/layout/IconVerticalSolidList"/>
    <dgm:cxn modelId="{0B789957-559F-4824-A32C-E333D0543FAC}" type="presOf" srcId="{D92D7955-ED37-4307-8B43-930E35497224}" destId="{DDE1F7BD-6E20-454A-B72F-266F21001763}" srcOrd="0" destOrd="0" presId="urn:microsoft.com/office/officeart/2018/2/layout/IconVerticalSolidList"/>
    <dgm:cxn modelId="{2BE2AB57-27FC-4A27-980A-2594573B0E68}" type="presOf" srcId="{30B4E765-1277-44DD-85D0-B84EAAE179A7}" destId="{BA179529-18A6-4989-8434-F20D2288611B}" srcOrd="0" destOrd="0" presId="urn:microsoft.com/office/officeart/2018/2/layout/IconVerticalSolidList"/>
    <dgm:cxn modelId="{BC496F6D-40E9-4D5C-807D-C92DC8F3D788}" srcId="{D92D7955-ED37-4307-8B43-930E35497224}" destId="{30B4E765-1277-44DD-85D0-B84EAAE179A7}" srcOrd="1" destOrd="0" parTransId="{9135B828-5368-4CAD-9FAE-B80A5DD9E89D}" sibTransId="{CB06E9C3-8860-4A5C-8406-2F2AD2D887AE}"/>
    <dgm:cxn modelId="{3BAE3B93-C6E8-4B7A-B38E-AF14888DF0AD}" type="presOf" srcId="{791CF79E-0B46-45D5-8449-713850CA0E01}" destId="{FB5B16BC-89C5-477A-B28E-3F12309BD611}" srcOrd="0" destOrd="0" presId="urn:microsoft.com/office/officeart/2018/2/layout/IconVerticalSolidList"/>
    <dgm:cxn modelId="{E633BD1A-C58F-4011-AC27-FC8491EDDE4A}" type="presParOf" srcId="{DDE1F7BD-6E20-454A-B72F-266F21001763}" destId="{AB93F43D-C8DB-4B16-9DE4-1999ACDAEDEA}" srcOrd="0" destOrd="0" presId="urn:microsoft.com/office/officeart/2018/2/layout/IconVerticalSolidList"/>
    <dgm:cxn modelId="{560453B4-9F79-483D-B54B-AAA029581430}" type="presParOf" srcId="{AB93F43D-C8DB-4B16-9DE4-1999ACDAEDEA}" destId="{BDFD5029-1132-4CB6-9206-F38DE2B31927}" srcOrd="0" destOrd="0" presId="urn:microsoft.com/office/officeart/2018/2/layout/IconVerticalSolidList"/>
    <dgm:cxn modelId="{2794E4BA-07D0-49FD-B751-751938A3112E}" type="presParOf" srcId="{AB93F43D-C8DB-4B16-9DE4-1999ACDAEDEA}" destId="{9AC8E2A8-244A-4D57-A672-A6EC0FE1EBF9}" srcOrd="1" destOrd="0" presId="urn:microsoft.com/office/officeart/2018/2/layout/IconVerticalSolidList"/>
    <dgm:cxn modelId="{578D78BA-B092-4D45-8515-0565985CEDBD}" type="presParOf" srcId="{AB93F43D-C8DB-4B16-9DE4-1999ACDAEDEA}" destId="{AB7BDBAB-439B-4947-A50A-ABEB62F16460}" srcOrd="2" destOrd="0" presId="urn:microsoft.com/office/officeart/2018/2/layout/IconVerticalSolidList"/>
    <dgm:cxn modelId="{9689AA03-F115-44B1-A34D-0DBEB58AC992}" type="presParOf" srcId="{AB93F43D-C8DB-4B16-9DE4-1999ACDAEDEA}" destId="{FB5B16BC-89C5-477A-B28E-3F12309BD611}" srcOrd="3" destOrd="0" presId="urn:microsoft.com/office/officeart/2018/2/layout/IconVerticalSolidList"/>
    <dgm:cxn modelId="{9D28BBA4-A533-4294-814F-E491B8B33DE4}" type="presParOf" srcId="{DDE1F7BD-6E20-454A-B72F-266F21001763}" destId="{A133680D-E5C7-43D6-8D41-2B3A6436047A}" srcOrd="1" destOrd="0" presId="urn:microsoft.com/office/officeart/2018/2/layout/IconVerticalSolidList"/>
    <dgm:cxn modelId="{E8AE1148-5AE6-4B88-8502-8F922D08AA5A}" type="presParOf" srcId="{DDE1F7BD-6E20-454A-B72F-266F21001763}" destId="{E4B40693-F01D-47E8-86C5-3E5AF71C729A}" srcOrd="2" destOrd="0" presId="urn:microsoft.com/office/officeart/2018/2/layout/IconVerticalSolidList"/>
    <dgm:cxn modelId="{F490DD61-4101-47F2-B52D-092AD1FA418D}" type="presParOf" srcId="{E4B40693-F01D-47E8-86C5-3E5AF71C729A}" destId="{BEBA2235-AABC-4867-B992-D6D078590A62}" srcOrd="0" destOrd="0" presId="urn:microsoft.com/office/officeart/2018/2/layout/IconVerticalSolidList"/>
    <dgm:cxn modelId="{5F7317D8-CB2A-4019-872A-BA594EBE3742}" type="presParOf" srcId="{E4B40693-F01D-47E8-86C5-3E5AF71C729A}" destId="{20F7F6B9-14E4-404F-A58D-C59BB37946D5}" srcOrd="1" destOrd="0" presId="urn:microsoft.com/office/officeart/2018/2/layout/IconVerticalSolidList"/>
    <dgm:cxn modelId="{872EE5F3-413B-4B88-B718-FC8F4381A250}" type="presParOf" srcId="{E4B40693-F01D-47E8-86C5-3E5AF71C729A}" destId="{9A66C286-5820-40DB-9AF5-F5F9F32431BE}" srcOrd="2" destOrd="0" presId="urn:microsoft.com/office/officeart/2018/2/layout/IconVerticalSolidList"/>
    <dgm:cxn modelId="{BBF68C3B-9D60-4627-82EF-41E6A034CF45}" type="presParOf" srcId="{E4B40693-F01D-47E8-86C5-3E5AF71C729A}" destId="{BA179529-18A6-4989-8434-F20D2288611B}" srcOrd="3" destOrd="0" presId="urn:microsoft.com/office/officeart/2018/2/layout/IconVerticalSolidList"/>
    <dgm:cxn modelId="{858E7AAE-C6F2-4AD8-AA99-142DBBBFC54C}" type="presParOf" srcId="{DDE1F7BD-6E20-454A-B72F-266F21001763}" destId="{03CFC4F6-E014-4C17-8FCD-1DFFE68CDEE4}" srcOrd="3" destOrd="0" presId="urn:microsoft.com/office/officeart/2018/2/layout/IconVerticalSolidList"/>
    <dgm:cxn modelId="{E072B3D6-DF6A-4C5D-8E40-B883294917B3}" type="presParOf" srcId="{DDE1F7BD-6E20-454A-B72F-266F21001763}" destId="{9D54F3C9-7279-4C36-8DCB-0D4D9B2DEE0F}" srcOrd="4" destOrd="0" presId="urn:microsoft.com/office/officeart/2018/2/layout/IconVerticalSolidList"/>
    <dgm:cxn modelId="{44935690-D1D4-4640-A276-1DA752E3992F}" type="presParOf" srcId="{9D54F3C9-7279-4C36-8DCB-0D4D9B2DEE0F}" destId="{5F250659-753E-4077-AA7C-9ED0D6CDE608}" srcOrd="0" destOrd="0" presId="urn:microsoft.com/office/officeart/2018/2/layout/IconVerticalSolidList"/>
    <dgm:cxn modelId="{8BBBD4FE-4C30-481B-B3F0-CC63EFCB92EC}" type="presParOf" srcId="{9D54F3C9-7279-4C36-8DCB-0D4D9B2DEE0F}" destId="{61CB9427-5B5C-46C6-BFA7-2602FD506DA3}" srcOrd="1" destOrd="0" presId="urn:microsoft.com/office/officeart/2018/2/layout/IconVerticalSolidList"/>
    <dgm:cxn modelId="{02BC2207-A2D2-4372-8854-32A8AC859837}" type="presParOf" srcId="{9D54F3C9-7279-4C36-8DCB-0D4D9B2DEE0F}" destId="{CCC7508B-B5FA-4961-A214-167CFFD96237}" srcOrd="2" destOrd="0" presId="urn:microsoft.com/office/officeart/2018/2/layout/IconVerticalSolidList"/>
    <dgm:cxn modelId="{6B7027C3-8625-4363-923D-671DF701280A}" type="presParOf" srcId="{9D54F3C9-7279-4C36-8DCB-0D4D9B2DEE0F}" destId="{4C5993AF-0D3C-423B-AC04-58DD1DCA88E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3" y="72692"/>
          <a:ext cx="5127426" cy="83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Hospital Level Data form</a:t>
          </a:r>
        </a:p>
      </dsp:txBody>
      <dsp:txXfrm>
        <a:off x="53" y="72692"/>
        <a:ext cx="5127426" cy="835200"/>
      </dsp:txXfrm>
    </dsp:sp>
    <dsp:sp modelId="{9CDF1165-2B21-4627-8D70-B6E057345958}">
      <dsp:nvSpPr>
        <dsp:cNvPr id="0" name=""/>
        <dsp:cNvSpPr/>
      </dsp:nvSpPr>
      <dsp:spPr>
        <a:xfrm>
          <a:off x="53" y="907892"/>
          <a:ext cx="5127426" cy="383099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Structure Measures </a:t>
          </a:r>
        </a:p>
        <a:p>
          <a:pPr marL="285750" lvl="1" indent="-285750" algn="l" defTabSz="1289050">
            <a:lnSpc>
              <a:spcPct val="90000"/>
            </a:lnSpc>
            <a:spcBef>
              <a:spcPct val="0"/>
            </a:spcBef>
            <a:spcAft>
              <a:spcPct val="15000"/>
            </a:spcAft>
            <a:buChar char="•"/>
          </a:pPr>
          <a:r>
            <a:rPr lang="en-US" sz="2900" kern="1200"/>
            <a:t>Education Measures</a:t>
          </a:r>
        </a:p>
        <a:p>
          <a:pPr marL="285750" lvl="1" indent="-285750" algn="l" defTabSz="1289050">
            <a:lnSpc>
              <a:spcPct val="90000"/>
            </a:lnSpc>
            <a:spcBef>
              <a:spcPct val="0"/>
            </a:spcBef>
            <a:spcAft>
              <a:spcPct val="15000"/>
            </a:spcAft>
            <a:buChar char="•"/>
          </a:pPr>
          <a:r>
            <a:rPr lang="en-US" sz="2900" kern="1200"/>
            <a:t>Crib Audits</a:t>
          </a:r>
        </a:p>
      </dsp:txBody>
      <dsp:txXfrm>
        <a:off x="53" y="907892"/>
        <a:ext cx="5127426" cy="3830990"/>
      </dsp:txXfrm>
    </dsp:sp>
    <dsp:sp modelId="{72E90577-3D0A-44A9-802D-7402B1482B47}">
      <dsp:nvSpPr>
        <dsp:cNvPr id="0" name=""/>
        <dsp:cNvSpPr/>
      </dsp:nvSpPr>
      <dsp:spPr>
        <a:xfrm>
          <a:off x="5845319" y="72692"/>
          <a:ext cx="5127426" cy="835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Patient Level Data form</a:t>
          </a:r>
        </a:p>
      </dsp:txBody>
      <dsp:txXfrm>
        <a:off x="5845319" y="72692"/>
        <a:ext cx="5127426" cy="835200"/>
      </dsp:txXfrm>
    </dsp:sp>
    <dsp:sp modelId="{CF05495E-421B-40F8-91AB-BC717C052FA2}">
      <dsp:nvSpPr>
        <dsp:cNvPr id="0" name=""/>
        <dsp:cNvSpPr/>
      </dsp:nvSpPr>
      <dsp:spPr>
        <a:xfrm>
          <a:off x="5845319" y="907892"/>
          <a:ext cx="5127426" cy="383099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Random sample of 20 newborns discharged each month​</a:t>
          </a:r>
        </a:p>
        <a:p>
          <a:pPr marL="285750" lvl="1" indent="-285750" algn="l" defTabSz="1289050">
            <a:lnSpc>
              <a:spcPct val="90000"/>
            </a:lnSpc>
            <a:spcBef>
              <a:spcPct val="0"/>
            </a:spcBef>
            <a:spcAft>
              <a:spcPct val="15000"/>
            </a:spcAft>
            <a:buChar char="•"/>
          </a:pPr>
          <a:r>
            <a:rPr lang="en-US" sz="2900" kern="1200"/>
            <a:t>Newborn and birthing person demographic data​</a:t>
          </a:r>
        </a:p>
        <a:p>
          <a:pPr marL="285750" lvl="1" indent="-285750" algn="l" defTabSz="1289050">
            <a:lnSpc>
              <a:spcPct val="90000"/>
            </a:lnSpc>
            <a:spcBef>
              <a:spcPct val="0"/>
            </a:spcBef>
            <a:spcAft>
              <a:spcPct val="15000"/>
            </a:spcAft>
            <a:buChar char="•"/>
          </a:pPr>
          <a:r>
            <a:rPr lang="en-US" sz="2900" kern="1200"/>
            <a:t>Safe sleep education​</a:t>
          </a:r>
        </a:p>
        <a:p>
          <a:pPr marL="285750" lvl="1" indent="-285750" algn="l" defTabSz="1289050">
            <a:lnSpc>
              <a:spcPct val="90000"/>
            </a:lnSpc>
            <a:spcBef>
              <a:spcPct val="0"/>
            </a:spcBef>
            <a:spcAft>
              <a:spcPct val="15000"/>
            </a:spcAft>
            <a:buChar char="•"/>
          </a:pPr>
          <a:r>
            <a:rPr lang="en-US" sz="2900" kern="1200"/>
            <a:t>Transfer of care documentation​</a:t>
          </a:r>
        </a:p>
      </dsp:txBody>
      <dsp:txXfrm>
        <a:off x="5845319" y="907892"/>
        <a:ext cx="5127426" cy="38309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DA4E-BFB9-43D6-AF7A-AEDE000EE248}">
      <dsp:nvSpPr>
        <dsp:cNvPr id="0" name=""/>
        <dsp:cNvSpPr/>
      </dsp:nvSpPr>
      <dsp:spPr>
        <a:xfrm>
          <a:off x="4614" y="447655"/>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dirty="0">
              <a:latin typeface="Calibri" panose="020F0502020204030204"/>
            </a:rPr>
            <a:t>QI Team Lead Support Call</a:t>
          </a:r>
        </a:p>
      </dsp:txBody>
      <dsp:txXfrm>
        <a:off x="710612" y="447655"/>
        <a:ext cx="2117992" cy="1411995"/>
      </dsp:txXfrm>
    </dsp:sp>
    <dsp:sp modelId="{69A3F573-828B-4DB7-9CCF-884EA63CCE92}">
      <dsp:nvSpPr>
        <dsp:cNvPr id="0" name=""/>
        <dsp:cNvSpPr/>
      </dsp:nvSpPr>
      <dsp:spPr>
        <a:xfrm>
          <a:off x="3075704" y="567675"/>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December 7th, 2023</a:t>
          </a:r>
        </a:p>
      </dsp:txBody>
      <dsp:txXfrm>
        <a:off x="3661682" y="567675"/>
        <a:ext cx="1757934" cy="1171955"/>
      </dsp:txXfrm>
    </dsp:sp>
    <dsp:sp modelId="{A66BEFC1-E304-4612-B5D9-747AB98866B1}">
      <dsp:nvSpPr>
        <dsp:cNvPr id="0" name=""/>
        <dsp:cNvSpPr/>
      </dsp:nvSpPr>
      <dsp:spPr>
        <a:xfrm>
          <a:off x="5595409" y="567675"/>
          <a:ext cx="5247081"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Important information for ESSI team leads on how to get started</a:t>
          </a:r>
        </a:p>
      </dsp:txBody>
      <dsp:txXfrm>
        <a:off x="6181387" y="567675"/>
        <a:ext cx="4075126" cy="1171955"/>
      </dsp:txXfrm>
    </dsp:sp>
    <dsp:sp modelId="{60962599-610D-41A6-A308-3C61676FA10F}">
      <dsp:nvSpPr>
        <dsp:cNvPr id="0" name=""/>
        <dsp:cNvSpPr/>
      </dsp:nvSpPr>
      <dsp:spPr>
        <a:xfrm>
          <a:off x="4614" y="2057330"/>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dirty="0">
              <a:solidFill>
                <a:schemeClr val="bg1"/>
              </a:solidFill>
              <a:latin typeface="Calibri" panose="020F0502020204030204"/>
            </a:rPr>
            <a:t>First ESSI Monthly Webinar</a:t>
          </a:r>
        </a:p>
      </dsp:txBody>
      <dsp:txXfrm>
        <a:off x="710612" y="2057330"/>
        <a:ext cx="2117992" cy="1411995"/>
      </dsp:txXfrm>
    </dsp:sp>
    <dsp:sp modelId="{40C493D5-84C5-414A-B25E-F0516F30F1DB}">
      <dsp:nvSpPr>
        <dsp:cNvPr id="0" name=""/>
        <dsp:cNvSpPr/>
      </dsp:nvSpPr>
      <dsp:spPr>
        <a:xfrm>
          <a:off x="3075704" y="2177350"/>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solidFill>
                <a:srgbClr val="444444"/>
              </a:solidFill>
              <a:latin typeface="Calibri" panose="020F0502020204030204"/>
            </a:rPr>
            <a:t>January </a:t>
          </a:r>
          <a:r>
            <a:rPr lang="en-US" sz="2200" kern="1200" dirty="0">
              <a:latin typeface="Calibri" panose="020F0502020204030204"/>
            </a:rPr>
            <a:t>22nd 2024 at 2pm</a:t>
          </a:r>
        </a:p>
      </dsp:txBody>
      <dsp:txXfrm>
        <a:off x="3661682" y="2177350"/>
        <a:ext cx="1757934" cy="1171955"/>
      </dsp:txXfrm>
    </dsp:sp>
    <dsp:sp modelId="{E4E686C1-FC9F-4B2F-8F63-DDC471B0DEB4}">
      <dsp:nvSpPr>
        <dsp:cNvPr id="0" name=""/>
        <dsp:cNvSpPr/>
      </dsp:nvSpPr>
      <dsp:spPr>
        <a:xfrm>
          <a:off x="5595409" y="2177350"/>
          <a:ext cx="5366503"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Getting started with healthcare provider and nurse education</a:t>
          </a:r>
        </a:p>
      </dsp:txBody>
      <dsp:txXfrm>
        <a:off x="6181387" y="2177350"/>
        <a:ext cx="4194548" cy="1171955"/>
      </dsp:txXfrm>
    </dsp:sp>
    <dsp:sp modelId="{5D5075C0-CF76-44AB-9B25-E029186A86C7}">
      <dsp:nvSpPr>
        <dsp:cNvPr id="0" name=""/>
        <dsp:cNvSpPr/>
      </dsp:nvSpPr>
      <dsp:spPr>
        <a:xfrm>
          <a:off x="4614" y="3667004"/>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Calibri" panose="020F0502020204030204"/>
            </a:rPr>
            <a:t>ESSI Data Training Webinars</a:t>
          </a:r>
          <a:endParaRPr lang="en-US" sz="3200" kern="1200" dirty="0"/>
        </a:p>
      </dsp:txBody>
      <dsp:txXfrm>
        <a:off x="710612" y="3667004"/>
        <a:ext cx="2117992" cy="1411995"/>
      </dsp:txXfrm>
    </dsp:sp>
    <dsp:sp modelId="{DBA3233D-396D-4828-ABB1-05C8FA826E94}">
      <dsp:nvSpPr>
        <dsp:cNvPr id="0" name=""/>
        <dsp:cNvSpPr/>
      </dsp:nvSpPr>
      <dsp:spPr>
        <a:xfrm>
          <a:off x="3075704" y="3787024"/>
          <a:ext cx="2548564"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1th, 2024</a:t>
          </a:r>
        </a:p>
      </dsp:txBody>
      <dsp:txXfrm>
        <a:off x="3661682" y="3787024"/>
        <a:ext cx="1376609" cy="1171955"/>
      </dsp:txXfrm>
    </dsp:sp>
    <dsp:sp modelId="{4507A95F-1518-44E3-95D0-73A0EC79E6E5}">
      <dsp:nvSpPr>
        <dsp:cNvPr id="0" name=""/>
        <dsp:cNvSpPr/>
      </dsp:nvSpPr>
      <dsp:spPr>
        <a:xfrm>
          <a:off x="5214084" y="3787024"/>
          <a:ext cx="2440070"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8th, 2024</a:t>
          </a:r>
          <a:endParaRPr lang="en-US" sz="2200" kern="1200" dirty="0"/>
        </a:p>
      </dsp:txBody>
      <dsp:txXfrm>
        <a:off x="5800062" y="3787024"/>
        <a:ext cx="1268115" cy="1171955"/>
      </dsp:txXfrm>
    </dsp:sp>
    <dsp:sp modelId="{D8BA990C-EEA2-4E44-B076-9170393433C7}">
      <dsp:nvSpPr>
        <dsp:cNvPr id="0" name=""/>
        <dsp:cNvSpPr/>
      </dsp:nvSpPr>
      <dsp:spPr>
        <a:xfrm>
          <a:off x="7243970" y="3787024"/>
          <a:ext cx="394245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How to collect data, access redcap, enter data and review reports</a:t>
          </a:r>
        </a:p>
      </dsp:txBody>
      <dsp:txXfrm>
        <a:off x="7829948" y="3787024"/>
        <a:ext cx="2770504" cy="11719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48F4B1-7F5F-4A53-A952-22DBCA5BB3EC}">
      <dsp:nvSpPr>
        <dsp:cNvPr id="0" name=""/>
        <dsp:cNvSpPr/>
      </dsp:nvSpPr>
      <dsp:spPr>
        <a:xfrm>
          <a:off x="0" y="2756916"/>
          <a:ext cx="7351603"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9511F33-CA42-4152-A4A1-9DD03A2021F8}">
      <dsp:nvSpPr>
        <dsp:cNvPr id="0" name=""/>
        <dsp:cNvSpPr/>
      </dsp:nvSpPr>
      <dsp:spPr>
        <a:xfrm rot="8100000">
          <a:off x="77590" y="654083"/>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D7ED5E-FB27-42A2-AA5A-D2F167CAF615}">
      <dsp:nvSpPr>
        <dsp:cNvPr id="0" name=""/>
        <dsp:cNvSpPr/>
      </dsp:nvSpPr>
      <dsp:spPr>
        <a:xfrm>
          <a:off x="118476"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CFABF29-6938-49B1-A567-2C728891E9CA}">
      <dsp:nvSpPr>
        <dsp:cNvPr id="0" name=""/>
        <dsp:cNvSpPr/>
      </dsp:nvSpPr>
      <dsp:spPr>
        <a:xfrm>
          <a:off x="521852"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a:t>
          </a:r>
        </a:p>
      </dsp:txBody>
      <dsp:txXfrm>
        <a:off x="521852" y="1124821"/>
        <a:ext cx="1589773" cy="1632094"/>
      </dsp:txXfrm>
    </dsp:sp>
    <dsp:sp modelId="{9645BC26-64C3-4BAD-BB69-975CFA0A023B}">
      <dsp:nvSpPr>
        <dsp:cNvPr id="0" name=""/>
        <dsp:cNvSpPr/>
      </dsp:nvSpPr>
      <dsp:spPr>
        <a:xfrm>
          <a:off x="521852"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anuary</a:t>
          </a:r>
        </a:p>
      </dsp:txBody>
      <dsp:txXfrm>
        <a:off x="521852" y="551383"/>
        <a:ext cx="1589773" cy="573438"/>
      </dsp:txXfrm>
    </dsp:sp>
    <dsp:sp modelId="{0878A462-46B3-4B25-9268-DE75AAAA8082}">
      <dsp:nvSpPr>
        <dsp:cNvPr id="0" name=""/>
        <dsp:cNvSpPr/>
      </dsp:nvSpPr>
      <dsp:spPr>
        <a:xfrm>
          <a:off x="261609" y="1124821"/>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22A234F-1E9D-4969-A922-A19F09F4C458}">
      <dsp:nvSpPr>
        <dsp:cNvPr id="0" name=""/>
        <dsp:cNvSpPr/>
      </dsp:nvSpPr>
      <dsp:spPr>
        <a:xfrm>
          <a:off x="24124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5CD570-BD88-4B9C-A3F3-94C8F8344772}">
      <dsp:nvSpPr>
        <dsp:cNvPr id="0" name=""/>
        <dsp:cNvSpPr/>
      </dsp:nvSpPr>
      <dsp:spPr>
        <a:xfrm rot="18900000">
          <a:off x="1125312" y="4491710"/>
          <a:ext cx="368038" cy="368038"/>
        </a:xfrm>
        <a:prstGeom prst="teardrop">
          <a:avLst>
            <a:gd name="adj" fmla="val 115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2517CD-6564-4F8E-8536-A67BF33B4069}">
      <dsp:nvSpPr>
        <dsp:cNvPr id="0" name=""/>
        <dsp:cNvSpPr/>
      </dsp:nvSpPr>
      <dsp:spPr>
        <a:xfrm>
          <a:off x="1166198"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8BF2188-6BF4-47CB-ACB2-C7EBAAA124D8}">
      <dsp:nvSpPr>
        <dsp:cNvPr id="0" name=""/>
        <dsp:cNvSpPr/>
      </dsp:nvSpPr>
      <dsp:spPr>
        <a:xfrm>
          <a:off x="1569574"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 Part 2</a:t>
          </a:r>
        </a:p>
      </dsp:txBody>
      <dsp:txXfrm>
        <a:off x="1569574" y="2756916"/>
        <a:ext cx="1589773" cy="1632094"/>
      </dsp:txXfrm>
    </dsp:sp>
    <dsp:sp modelId="{D0934DA1-1A1E-4382-BFE9-4832C18E047F}">
      <dsp:nvSpPr>
        <dsp:cNvPr id="0" name=""/>
        <dsp:cNvSpPr/>
      </dsp:nvSpPr>
      <dsp:spPr>
        <a:xfrm>
          <a:off x="1569574"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February</a:t>
          </a:r>
        </a:p>
      </dsp:txBody>
      <dsp:txXfrm>
        <a:off x="1569574" y="4389010"/>
        <a:ext cx="1589773" cy="573438"/>
      </dsp:txXfrm>
    </dsp:sp>
    <dsp:sp modelId="{FC6D5085-BC9A-425C-9655-F4EAAB9422C6}">
      <dsp:nvSpPr>
        <dsp:cNvPr id="0" name=""/>
        <dsp:cNvSpPr/>
      </dsp:nvSpPr>
      <dsp:spPr>
        <a:xfrm>
          <a:off x="1309331" y="2756916"/>
          <a:ext cx="0" cy="1632094"/>
        </a:xfrm>
        <a:prstGeom prst="line">
          <a:avLst/>
        </a:prstGeom>
        <a:noFill/>
        <a:ln w="12700" cap="flat" cmpd="sng" algn="ctr">
          <a:solidFill>
            <a:schemeClr val="accent3">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D2E5EF5-7EEC-4C17-8531-A7A2D99FD415}">
      <dsp:nvSpPr>
        <dsp:cNvPr id="0" name=""/>
        <dsp:cNvSpPr/>
      </dsp:nvSpPr>
      <dsp:spPr>
        <a:xfrm>
          <a:off x="1288964" y="2705306"/>
          <a:ext cx="93687" cy="103218"/>
        </a:xfrm>
        <a:prstGeom prst="ellipse">
          <a:avLst/>
        </a:prstGeom>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390ACF-8941-4B21-81FE-E24DE182F400}">
      <dsp:nvSpPr>
        <dsp:cNvPr id="0" name=""/>
        <dsp:cNvSpPr/>
      </dsp:nvSpPr>
      <dsp:spPr>
        <a:xfrm rot="8100000">
          <a:off x="2173034" y="654083"/>
          <a:ext cx="368038" cy="368038"/>
        </a:xfrm>
        <a:prstGeom prst="teardrop">
          <a:avLst>
            <a:gd name="adj" fmla="val 11500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CE6054-7DA9-41CA-A822-B5AEFEF9A36D}">
      <dsp:nvSpPr>
        <dsp:cNvPr id="0" name=""/>
        <dsp:cNvSpPr/>
      </dsp:nvSpPr>
      <dsp:spPr>
        <a:xfrm>
          <a:off x="2213920"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E565CC8-066C-44C8-A00D-95B6F78719F0}">
      <dsp:nvSpPr>
        <dsp:cNvPr id="0" name=""/>
        <dsp:cNvSpPr/>
      </dsp:nvSpPr>
      <dsp:spPr>
        <a:xfrm>
          <a:off x="2617296"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Safe Sleep Environment Education and Implementation</a:t>
          </a:r>
        </a:p>
      </dsp:txBody>
      <dsp:txXfrm>
        <a:off x="2617296" y="1124821"/>
        <a:ext cx="1589773" cy="1632094"/>
      </dsp:txXfrm>
    </dsp:sp>
    <dsp:sp modelId="{4183CEC0-935A-410C-86C6-DD5A3092D739}">
      <dsp:nvSpPr>
        <dsp:cNvPr id="0" name=""/>
        <dsp:cNvSpPr/>
      </dsp:nvSpPr>
      <dsp:spPr>
        <a:xfrm>
          <a:off x="2617296"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rch</a:t>
          </a:r>
        </a:p>
      </dsp:txBody>
      <dsp:txXfrm>
        <a:off x="2617296" y="551383"/>
        <a:ext cx="1589773" cy="573438"/>
      </dsp:txXfrm>
    </dsp:sp>
    <dsp:sp modelId="{8C47003B-F241-4006-92DC-837EB791561B}">
      <dsp:nvSpPr>
        <dsp:cNvPr id="0" name=""/>
        <dsp:cNvSpPr/>
      </dsp:nvSpPr>
      <dsp:spPr>
        <a:xfrm>
          <a:off x="2357053" y="1124821"/>
          <a:ext cx="0" cy="1632094"/>
        </a:xfrm>
        <a:prstGeom prst="line">
          <a:avLst/>
        </a:prstGeom>
        <a:noFill/>
        <a:ln w="12700" cap="flat" cmpd="sng" algn="ctr">
          <a:solidFill>
            <a:schemeClr val="accent4">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C3026BE-E675-4141-8C6B-877C71AFCD1B}">
      <dsp:nvSpPr>
        <dsp:cNvPr id="0" name=""/>
        <dsp:cNvSpPr/>
      </dsp:nvSpPr>
      <dsp:spPr>
        <a:xfrm>
          <a:off x="2336686" y="2705306"/>
          <a:ext cx="93687" cy="103218"/>
        </a:xfrm>
        <a:prstGeom prst="ellipse">
          <a:avLst/>
        </a:prstGeom>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67F50D-D88C-4B95-A4A3-18B9756C037C}">
      <dsp:nvSpPr>
        <dsp:cNvPr id="0" name=""/>
        <dsp:cNvSpPr/>
      </dsp:nvSpPr>
      <dsp:spPr>
        <a:xfrm rot="18900000">
          <a:off x="3220756" y="4491710"/>
          <a:ext cx="368038" cy="368038"/>
        </a:xfrm>
        <a:prstGeom prst="teardrop">
          <a:avLst>
            <a:gd name="adj" fmla="val 115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1B5BCF-E41F-44D1-B630-6887D15A7398}">
      <dsp:nvSpPr>
        <dsp:cNvPr id="0" name=""/>
        <dsp:cNvSpPr/>
      </dsp:nvSpPr>
      <dsp:spPr>
        <a:xfrm>
          <a:off x="3261642"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0EAA9EE-7BD3-411E-86E5-2BA99352C26E}">
      <dsp:nvSpPr>
        <dsp:cNvPr id="0" name=""/>
        <dsp:cNvSpPr/>
      </dsp:nvSpPr>
      <dsp:spPr>
        <a:xfrm>
          <a:off x="3665018"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Policy Review (AAP Safe Sleep Guidelines and reviewing polices with an equity lens) </a:t>
          </a:r>
        </a:p>
      </dsp:txBody>
      <dsp:txXfrm>
        <a:off x="3665018" y="2756916"/>
        <a:ext cx="1589773" cy="1632094"/>
      </dsp:txXfrm>
    </dsp:sp>
    <dsp:sp modelId="{2FB1246F-9AFE-48AF-BDF2-C0001E8CE969}">
      <dsp:nvSpPr>
        <dsp:cNvPr id="0" name=""/>
        <dsp:cNvSpPr/>
      </dsp:nvSpPr>
      <dsp:spPr>
        <a:xfrm>
          <a:off x="3665018"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April</a:t>
          </a:r>
        </a:p>
      </dsp:txBody>
      <dsp:txXfrm>
        <a:off x="3665018" y="4389010"/>
        <a:ext cx="1589773" cy="573438"/>
      </dsp:txXfrm>
    </dsp:sp>
    <dsp:sp modelId="{60A486CB-3970-483A-B450-0DD424E81EA2}">
      <dsp:nvSpPr>
        <dsp:cNvPr id="0" name=""/>
        <dsp:cNvSpPr/>
      </dsp:nvSpPr>
      <dsp:spPr>
        <a:xfrm>
          <a:off x="3404775" y="2756916"/>
          <a:ext cx="0" cy="1632094"/>
        </a:xfrm>
        <a:prstGeom prst="line">
          <a:avLst/>
        </a:prstGeom>
        <a:noFill/>
        <a:ln w="1270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04AE90F-AC95-43B5-B942-8D97C0918650}">
      <dsp:nvSpPr>
        <dsp:cNvPr id="0" name=""/>
        <dsp:cNvSpPr/>
      </dsp:nvSpPr>
      <dsp:spPr>
        <a:xfrm>
          <a:off x="3384408" y="2705306"/>
          <a:ext cx="93687" cy="103218"/>
        </a:xfrm>
        <a:prstGeom prst="ellipse">
          <a:avLst/>
        </a:prstGeom>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614B9-A401-4908-A5B6-5C785767B12A}">
      <dsp:nvSpPr>
        <dsp:cNvPr id="0" name=""/>
        <dsp:cNvSpPr/>
      </dsp:nvSpPr>
      <dsp:spPr>
        <a:xfrm rot="8100000">
          <a:off x="4268478" y="654083"/>
          <a:ext cx="368038" cy="368038"/>
        </a:xfrm>
        <a:prstGeom prst="teardrop">
          <a:avLst>
            <a:gd name="adj" fmla="val 11500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0E4821-9E9D-43D5-AF7E-3658E3CCA6D9}">
      <dsp:nvSpPr>
        <dsp:cNvPr id="0" name=""/>
        <dsp:cNvSpPr/>
      </dsp:nvSpPr>
      <dsp:spPr>
        <a:xfrm>
          <a:off x="4309364"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A9B991F-842F-4129-B41A-36744D0D1DAF}">
      <dsp:nvSpPr>
        <dsp:cNvPr id="0" name=""/>
        <dsp:cNvSpPr/>
      </dsp:nvSpPr>
      <dsp:spPr>
        <a:xfrm>
          <a:off x="4712740"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2024 Face-to-Face Meeting in Springfield IL</a:t>
          </a:r>
        </a:p>
      </dsp:txBody>
      <dsp:txXfrm>
        <a:off x="4712740" y="1124821"/>
        <a:ext cx="1589773" cy="1632094"/>
      </dsp:txXfrm>
    </dsp:sp>
    <dsp:sp modelId="{B37425C6-3D26-4CCF-BFF5-FB031B76BCAC}">
      <dsp:nvSpPr>
        <dsp:cNvPr id="0" name=""/>
        <dsp:cNvSpPr/>
      </dsp:nvSpPr>
      <dsp:spPr>
        <a:xfrm>
          <a:off x="4712740"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y</a:t>
          </a:r>
        </a:p>
      </dsp:txBody>
      <dsp:txXfrm>
        <a:off x="4712740" y="551383"/>
        <a:ext cx="1589773" cy="573438"/>
      </dsp:txXfrm>
    </dsp:sp>
    <dsp:sp modelId="{24B3BAC8-22E0-488C-8C7D-45D0A71DFCF1}">
      <dsp:nvSpPr>
        <dsp:cNvPr id="0" name=""/>
        <dsp:cNvSpPr/>
      </dsp:nvSpPr>
      <dsp:spPr>
        <a:xfrm>
          <a:off x="4452497" y="1124821"/>
          <a:ext cx="0" cy="1632094"/>
        </a:xfrm>
        <a:prstGeom prst="line">
          <a:avLst/>
        </a:prstGeom>
        <a:noFill/>
        <a:ln w="12700" cap="flat" cmpd="sng" algn="ctr">
          <a:solidFill>
            <a:schemeClr val="accent6">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8C9072A-7971-4C81-9C00-3C768C49DB68}">
      <dsp:nvSpPr>
        <dsp:cNvPr id="0" name=""/>
        <dsp:cNvSpPr/>
      </dsp:nvSpPr>
      <dsp:spPr>
        <a:xfrm>
          <a:off x="4432130" y="2705306"/>
          <a:ext cx="93687" cy="103218"/>
        </a:xfrm>
        <a:prstGeom prst="ellipse">
          <a:avLst/>
        </a:prstGeom>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327667-BB9F-4AE2-9DE4-614AFF9D570E}">
      <dsp:nvSpPr>
        <dsp:cNvPr id="0" name=""/>
        <dsp:cNvSpPr/>
      </dsp:nvSpPr>
      <dsp:spPr>
        <a:xfrm rot="18900000">
          <a:off x="5316200" y="4491710"/>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D18D11-A7C8-47E9-81DA-B44E1399082D}">
      <dsp:nvSpPr>
        <dsp:cNvPr id="0" name=""/>
        <dsp:cNvSpPr/>
      </dsp:nvSpPr>
      <dsp:spPr>
        <a:xfrm>
          <a:off x="5357086"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2E86E62-E1D6-4BA3-9A6E-0EE2F5195A9B}">
      <dsp:nvSpPr>
        <dsp:cNvPr id="0" name=""/>
        <dsp:cNvSpPr/>
      </dsp:nvSpPr>
      <dsp:spPr>
        <a:xfrm>
          <a:off x="5760462"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Use qualified interpreters and provide information in multiple languages </a:t>
          </a:r>
        </a:p>
      </dsp:txBody>
      <dsp:txXfrm>
        <a:off x="5760462" y="2756916"/>
        <a:ext cx="1589773" cy="1632094"/>
      </dsp:txXfrm>
    </dsp:sp>
    <dsp:sp modelId="{E0F79C68-0658-4690-ABBE-75BF5D6FB4CE}">
      <dsp:nvSpPr>
        <dsp:cNvPr id="0" name=""/>
        <dsp:cNvSpPr/>
      </dsp:nvSpPr>
      <dsp:spPr>
        <a:xfrm>
          <a:off x="5760462"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une</a:t>
          </a:r>
        </a:p>
      </dsp:txBody>
      <dsp:txXfrm>
        <a:off x="5760462" y="4389010"/>
        <a:ext cx="1589773" cy="573438"/>
      </dsp:txXfrm>
    </dsp:sp>
    <dsp:sp modelId="{E26F8033-47B9-4A2F-AFA4-759D63C0F3B1}">
      <dsp:nvSpPr>
        <dsp:cNvPr id="0" name=""/>
        <dsp:cNvSpPr/>
      </dsp:nvSpPr>
      <dsp:spPr>
        <a:xfrm>
          <a:off x="5500219" y="2756916"/>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6764629-0256-43E9-9304-2A75162A40BD}">
      <dsp:nvSpPr>
        <dsp:cNvPr id="0" name=""/>
        <dsp:cNvSpPr/>
      </dsp:nvSpPr>
      <dsp:spPr>
        <a:xfrm>
          <a:off x="547985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FD5029-1132-4CB6-9206-F38DE2B31927}">
      <dsp:nvSpPr>
        <dsp:cNvPr id="0" name=""/>
        <dsp:cNvSpPr/>
      </dsp:nvSpPr>
      <dsp:spPr>
        <a:xfrm>
          <a:off x="0" y="640"/>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C8E2A8-244A-4D57-A672-A6EC0FE1EBF9}">
      <dsp:nvSpPr>
        <dsp:cNvPr id="0" name=""/>
        <dsp:cNvSpPr/>
      </dsp:nvSpPr>
      <dsp:spPr>
        <a:xfrm>
          <a:off x="453120" y="337671"/>
          <a:ext cx="823854" cy="8238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5B16BC-89C5-477A-B28E-3F12309BD611}">
      <dsp:nvSpPr>
        <dsp:cNvPr id="0" name=""/>
        <dsp:cNvSpPr/>
      </dsp:nvSpPr>
      <dsp:spPr>
        <a:xfrm>
          <a:off x="1730095" y="640"/>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This is a long initiative! We cannot do all of this work at once.</a:t>
          </a:r>
          <a:endParaRPr lang="en-US" sz="2500" kern="1200" dirty="0"/>
        </a:p>
      </dsp:txBody>
      <dsp:txXfrm>
        <a:off x="1730095" y="640"/>
        <a:ext cx="4859164" cy="1497917"/>
      </dsp:txXfrm>
    </dsp:sp>
    <dsp:sp modelId="{BEBA2235-AABC-4867-B992-D6D078590A62}">
      <dsp:nvSpPr>
        <dsp:cNvPr id="0" name=""/>
        <dsp:cNvSpPr/>
      </dsp:nvSpPr>
      <dsp:spPr>
        <a:xfrm>
          <a:off x="0" y="1873037"/>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F7F6B9-14E4-404F-A58D-C59BB37946D5}">
      <dsp:nvSpPr>
        <dsp:cNvPr id="0" name=""/>
        <dsp:cNvSpPr/>
      </dsp:nvSpPr>
      <dsp:spPr>
        <a:xfrm>
          <a:off x="453120" y="2210069"/>
          <a:ext cx="823854" cy="82385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179529-18A6-4989-8434-F20D2288611B}">
      <dsp:nvSpPr>
        <dsp:cNvPr id="0" name=""/>
        <dsp:cNvSpPr/>
      </dsp:nvSpPr>
      <dsp:spPr>
        <a:xfrm>
          <a:off x="1730095" y="1873037"/>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rtl="0">
            <a:lnSpc>
              <a:spcPct val="90000"/>
            </a:lnSpc>
            <a:spcBef>
              <a:spcPct val="0"/>
            </a:spcBef>
            <a:spcAft>
              <a:spcPct val="35000"/>
            </a:spcAft>
            <a:buNone/>
          </a:pPr>
          <a:r>
            <a:rPr lang="en-US" sz="2500" b="0" i="0" kern="1200" dirty="0"/>
            <a:t>We will work together </a:t>
          </a:r>
          <a:r>
            <a:rPr lang="en-US" sz="2500" b="0" i="0" kern="1200" dirty="0">
              <a:latin typeface="Calibri" panose="020F0502020204030204"/>
            </a:rPr>
            <a:t>to </a:t>
          </a:r>
          <a:r>
            <a:rPr lang="en-US" sz="2500" b="0" i="0" kern="1200" dirty="0"/>
            <a:t>implement strategies one </a:t>
          </a:r>
          <a:r>
            <a:rPr lang="en-US" sz="2500" b="0" i="0" kern="1200" dirty="0">
              <a:latin typeface="Calibri" panose="020F0502020204030204"/>
            </a:rPr>
            <a:t>driver</a:t>
          </a:r>
          <a:r>
            <a:rPr lang="en-US" sz="2500" b="0" i="0" kern="1200" dirty="0"/>
            <a:t> at a time</a:t>
          </a:r>
          <a:endParaRPr lang="en-US" sz="2500" kern="1200" dirty="0"/>
        </a:p>
      </dsp:txBody>
      <dsp:txXfrm>
        <a:off x="1730095" y="1873037"/>
        <a:ext cx="4859164" cy="1497917"/>
      </dsp:txXfrm>
    </dsp:sp>
    <dsp:sp modelId="{5F250659-753E-4077-AA7C-9ED0D6CDE608}">
      <dsp:nvSpPr>
        <dsp:cNvPr id="0" name=""/>
        <dsp:cNvSpPr/>
      </dsp:nvSpPr>
      <dsp:spPr>
        <a:xfrm>
          <a:off x="0" y="3745434"/>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CB9427-5B5C-46C6-BFA7-2602FD506DA3}">
      <dsp:nvSpPr>
        <dsp:cNvPr id="0" name=""/>
        <dsp:cNvSpPr/>
      </dsp:nvSpPr>
      <dsp:spPr>
        <a:xfrm>
          <a:off x="453120" y="4082466"/>
          <a:ext cx="823854" cy="8238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5993AF-0D3C-423B-AC04-58DD1DCA88ED}">
      <dsp:nvSpPr>
        <dsp:cNvPr id="0" name=""/>
        <dsp:cNvSpPr/>
      </dsp:nvSpPr>
      <dsp:spPr>
        <a:xfrm>
          <a:off x="1730095" y="3745434"/>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Get started by working on implementing the 10 Steps Getting Started!</a:t>
          </a:r>
          <a:endParaRPr lang="en-US" sz="2500" kern="1200" dirty="0"/>
        </a:p>
      </dsp:txBody>
      <dsp:txXfrm>
        <a:off x="1730095" y="3745434"/>
        <a:ext cx="4859164" cy="149791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5AE3D-BBF5-462F-BA10-AB04ECE4348E}" type="datetimeFigureOut">
              <a:t>7/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BD1989-80A6-4526-B6CA-3DFDBBCC42D0}" type="slidenum">
              <a:t>‹#›</a:t>
            </a:fld>
            <a:endParaRPr lang="en-US"/>
          </a:p>
        </p:txBody>
      </p:sp>
    </p:spTree>
    <p:extLst>
      <p:ext uri="{BB962C8B-B14F-4D97-AF65-F5344CB8AC3E}">
        <p14:creationId xmlns:p14="http://schemas.microsoft.com/office/powerpoint/2010/main" val="1213723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5</a:t>
            </a:fld>
            <a:endParaRPr lang="en-US"/>
          </a:p>
        </p:txBody>
      </p:sp>
    </p:spTree>
    <p:extLst>
      <p:ext uri="{BB962C8B-B14F-4D97-AF65-F5344CB8AC3E}">
        <p14:creationId xmlns:p14="http://schemas.microsoft.com/office/powerpoint/2010/main" val="2602365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a:t>
            </a:fld>
            <a:endParaRPr lang="en-US"/>
          </a:p>
        </p:txBody>
      </p:sp>
    </p:spTree>
    <p:extLst>
      <p:ext uri="{BB962C8B-B14F-4D97-AF65-F5344CB8AC3E}">
        <p14:creationId xmlns:p14="http://schemas.microsoft.com/office/powerpoint/2010/main" val="2005678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0BAE01-1909-42FA-8A9A-F40C71256137}" type="slidenum">
              <a:rPr lang="en-US" smtClean="0"/>
              <a:t>5</a:t>
            </a:fld>
            <a:endParaRPr lang="en-US"/>
          </a:p>
        </p:txBody>
      </p:sp>
    </p:spTree>
    <p:extLst>
      <p:ext uri="{BB962C8B-B14F-4D97-AF65-F5344CB8AC3E}">
        <p14:creationId xmlns:p14="http://schemas.microsoft.com/office/powerpoint/2010/main" val="1696350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ADAB5-D1BF-66DC-1F13-FF6A2DEAB8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43C40C-4048-0D5F-0E71-1B5FC4E50E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771231-645D-CC84-E5DB-1B0F455BE45F}"/>
              </a:ext>
            </a:extLst>
          </p:cNvPr>
          <p:cNvSpPr>
            <a:spLocks noGrp="1"/>
          </p:cNvSpPr>
          <p:nvPr>
            <p:ph type="body" idx="1"/>
          </p:nvPr>
        </p:nvSpPr>
        <p:spPr/>
        <p:txBody>
          <a:bodyPr/>
          <a:lstStyle/>
          <a:p>
            <a:endParaRPr lang="en-US" dirty="0">
              <a:cs typeface="Calibri"/>
            </a:endParaRPr>
          </a:p>
        </p:txBody>
      </p:sp>
      <p:sp>
        <p:nvSpPr>
          <p:cNvPr id="4" name="Slide Number Placeholder 3">
            <a:extLst>
              <a:ext uri="{FF2B5EF4-FFF2-40B4-BE49-F238E27FC236}">
                <a16:creationId xmlns:a16="http://schemas.microsoft.com/office/drawing/2014/main" id="{1E390781-3F80-37D7-CF4F-5AD9D530D807}"/>
              </a:ext>
            </a:extLst>
          </p:cNvPr>
          <p:cNvSpPr>
            <a:spLocks noGrp="1"/>
          </p:cNvSpPr>
          <p:nvPr>
            <p:ph type="sldNum" sz="quarter" idx="5"/>
          </p:nvPr>
        </p:nvSpPr>
        <p:spPr/>
        <p:txBody>
          <a:bodyPr/>
          <a:lstStyle/>
          <a:p>
            <a:fld id="{1EBD1989-80A6-4526-B6CA-3DFDBBCC42D0}" type="slidenum">
              <a:rPr lang="en-US"/>
              <a:t>7</a:t>
            </a:fld>
            <a:endParaRPr lang="en-US"/>
          </a:p>
        </p:txBody>
      </p:sp>
    </p:spTree>
    <p:extLst>
      <p:ext uri="{BB962C8B-B14F-4D97-AF65-F5344CB8AC3E}">
        <p14:creationId xmlns:p14="http://schemas.microsoft.com/office/powerpoint/2010/main" val="30564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F7ACB-ADCE-06A2-4360-EC74B9029B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A97482-3496-452C-43FA-46D96F1369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F8FDFE-BE72-E549-6BF9-5CFF4AEEE69D}"/>
              </a:ext>
            </a:extLst>
          </p:cNvPr>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a:extLst>
              <a:ext uri="{FF2B5EF4-FFF2-40B4-BE49-F238E27FC236}">
                <a16:creationId xmlns:a16="http://schemas.microsoft.com/office/drawing/2014/main" id="{FD79209E-7F97-FB19-C8B1-5196DA46FE9A}"/>
              </a:ext>
            </a:extLst>
          </p:cNvPr>
          <p:cNvSpPr>
            <a:spLocks noGrp="1"/>
          </p:cNvSpPr>
          <p:nvPr>
            <p:ph type="sldNum" sz="quarter" idx="5"/>
          </p:nvPr>
        </p:nvSpPr>
        <p:spPr/>
        <p:txBody>
          <a:bodyPr/>
          <a:lstStyle/>
          <a:p>
            <a:fld id="{1EBD1989-80A6-4526-B6CA-3DFDBBCC42D0}" type="slidenum">
              <a:rPr lang="en-US"/>
              <a:t>13</a:t>
            </a:fld>
            <a:endParaRPr lang="en-US"/>
          </a:p>
        </p:txBody>
      </p:sp>
    </p:spTree>
    <p:extLst>
      <p:ext uri="{BB962C8B-B14F-4D97-AF65-F5344CB8AC3E}">
        <p14:creationId xmlns:p14="http://schemas.microsoft.com/office/powerpoint/2010/main" val="971454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7</a:t>
            </a:fld>
            <a:endParaRPr lang="en-US"/>
          </a:p>
        </p:txBody>
      </p:sp>
    </p:spTree>
    <p:extLst>
      <p:ext uri="{BB962C8B-B14F-4D97-AF65-F5344CB8AC3E}">
        <p14:creationId xmlns:p14="http://schemas.microsoft.com/office/powerpoint/2010/main" val="3103540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BD1989-80A6-4526-B6CA-3DFDBBCC42D0}" type="slidenum">
              <a:rPr lang="en-US"/>
              <a:t>28</a:t>
            </a:fld>
            <a:endParaRPr lang="en-US"/>
          </a:p>
        </p:txBody>
      </p:sp>
    </p:spTree>
    <p:extLst>
      <p:ext uri="{BB962C8B-B14F-4D97-AF65-F5344CB8AC3E}">
        <p14:creationId xmlns:p14="http://schemas.microsoft.com/office/powerpoint/2010/main" val="717388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9</a:t>
            </a:fld>
            <a:endParaRPr lang="en-US"/>
          </a:p>
        </p:txBody>
      </p:sp>
    </p:spTree>
    <p:extLst>
      <p:ext uri="{BB962C8B-B14F-4D97-AF65-F5344CB8AC3E}">
        <p14:creationId xmlns:p14="http://schemas.microsoft.com/office/powerpoint/2010/main" val="36876972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0</a:t>
            </a:fld>
            <a:endParaRPr lang="en-US"/>
          </a:p>
        </p:txBody>
      </p:sp>
    </p:spTree>
    <p:extLst>
      <p:ext uri="{BB962C8B-B14F-4D97-AF65-F5344CB8AC3E}">
        <p14:creationId xmlns:p14="http://schemas.microsoft.com/office/powerpoint/2010/main" val="6872594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1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22.bin"/><Relationship Id="rId5" Type="http://schemas.openxmlformats.org/officeDocument/2006/relationships/image" Target="../media/image47.emf"/><Relationship Id="rId4" Type="http://schemas.openxmlformats.org/officeDocument/2006/relationships/oleObject" Target="../embeddings/oleObject21.bin"/></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6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11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116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17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7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117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17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5.bin"/><Relationship Id="rId5" Type="http://schemas.openxmlformats.org/officeDocument/2006/relationships/image" Target="../media/image47.emf"/><Relationship Id="rId4" Type="http://schemas.openxmlformats.org/officeDocument/2006/relationships/oleObject" Target="../embeddings/oleObject24.bin"/></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18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7.bin"/><Relationship Id="rId5" Type="http://schemas.openxmlformats.org/officeDocument/2006/relationships/image" Target="../media/image47.emf"/><Relationship Id="rId4" Type="http://schemas.openxmlformats.org/officeDocument/2006/relationships/oleObject" Target="../embeddings/oleObject26.bin"/></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9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119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1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2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2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12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12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12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2.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12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12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2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0.bin"/><Relationship Id="rId5" Type="http://schemas.openxmlformats.org/officeDocument/2006/relationships/image" Target="../media/image47.emf"/><Relationship Id="rId4" Type="http://schemas.openxmlformats.org/officeDocument/2006/relationships/oleObject" Target="../embeddings/oleObject29.bin"/></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2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32.bin"/><Relationship Id="rId5" Type="http://schemas.openxmlformats.org/officeDocument/2006/relationships/image" Target="../media/image47.emf"/><Relationship Id="rId4" Type="http://schemas.openxmlformats.org/officeDocument/2006/relationships/oleObject" Target="../embeddings/oleObject31.bin"/></Relationships>
</file>

<file path=ppt/slideLayouts/_rels/slideLayout12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12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2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6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9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9.bin"/><Relationship Id="rId5" Type="http://schemas.openxmlformats.org/officeDocument/2006/relationships/image" Target="../media/image47.emf"/><Relationship Id="rId4" Type="http://schemas.openxmlformats.org/officeDocument/2006/relationships/oleObject" Target="../embeddings/oleObject18.bin"/></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9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9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5632236"/>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0946467"/>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35412623"/>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95311"/>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97060"/>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3614659"/>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9832835"/>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3143824"/>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858862"/>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26371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43082088"/>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99828502"/>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43599500"/>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43100962"/>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7029293"/>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06863667"/>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1357471"/>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4467170"/>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246571"/>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666832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978124"/>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0602772"/>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942257"/>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171232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272437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3037269"/>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12894070"/>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67365997"/>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type="obj" preserve="1">
  <p:cSld name="4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548462"/>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144736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038943"/>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6427918"/>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0214597"/>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82630291"/>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9941528"/>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7341666"/>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313475"/>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6313469"/>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7494341"/>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14033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3472160"/>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8711386"/>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3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5671479"/>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5846320"/>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4099270"/>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052126"/>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1313066"/>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22939689"/>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86013079"/>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390608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9109455"/>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54066541"/>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7860288"/>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153828"/>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3590353"/>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69724266"/>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5096314"/>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900462"/>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4406471"/>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140125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438846393"/>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19971891"/>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52897146"/>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96998023"/>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15890552"/>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1509028"/>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25905723"/>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type="obj" preserve="1">
  <p:cSld name="5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768575"/>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6962456"/>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56191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524647"/>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2899755"/>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9090932"/>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930165"/>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99968619"/>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7410212"/>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1745480"/>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3155475"/>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9673356"/>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651347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76129"/>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0255712"/>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type="twoObj" preserve="1">
  <p:cSld name="3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7216607"/>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800594"/>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4387289"/>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3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711815"/>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78213968"/>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765961"/>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7836905"/>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3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417273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80606"/>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type="obj" preserve="1">
  <p:cSld name="5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8795183"/>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woObj" preserve="1">
  <p:cSld name="3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05350785"/>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1912704"/>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titleOnly" preserve="1">
  <p:cSld name="3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970817"/>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3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25178456"/>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blank" preserve="1">
  <p:cSld name="3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751450915"/>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0227486"/>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63048501"/>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04964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69582405"/>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250648"/>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1597973"/>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type="twoObj" preserve="1">
  <p:cSld name="3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8645114"/>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484098"/>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type="titleOnly" preserve="1">
  <p:cSld name="3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4286648"/>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3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4919237"/>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type="blank" preserve="1">
  <p:cSld name="3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0678726"/>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5027241"/>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obj" preserve="1">
  <p:cSld name="9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57186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5223882"/>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62291614"/>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55819518"/>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6826123"/>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77016840"/>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8044567"/>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1160232"/>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121985038"/>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01186227"/>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6683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00403344"/>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41739600"/>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70432828"/>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77810434"/>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1001042"/>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37838152"/>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5022405"/>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15911041"/>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8224431"/>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48699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34112234"/>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33192793"/>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72344358"/>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7891677"/>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63372495"/>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3532700"/>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33206821"/>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003530"/>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64508364"/>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52308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51706158"/>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2601060"/>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655638"/>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4460803"/>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58445276"/>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414366"/>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9423819"/>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90974035"/>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96043071"/>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832755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8597090"/>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88620854"/>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4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3112782"/>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2996463"/>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type="obj" preserve="1">
  <p:cSld name="6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807618"/>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46251"/>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7771846"/>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itleOnly" preserve="1">
  <p:cSld name="3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758248"/>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85240274"/>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blank" preserve="1">
  <p:cSld name="3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89096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807848033"/>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307353"/>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matchingName="Title and Content">
  <p:cSld name="6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502705"/>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61261567"/>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233093275"/>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094741"/>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204548"/>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27773"/>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8766939"/>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6504275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53171108"/>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805973"/>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56728087"/>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836639575"/>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matchingName="Title and Content">
  <p:cSld name="68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6728638"/>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38350718"/>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727605722"/>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6163365"/>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819422645"/>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73816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type="obj" preserve="1">
  <p:cSld name="9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7516824"/>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65017117"/>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05887763"/>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1861664"/>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021598"/>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725819"/>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46506546"/>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93011989"/>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matchingName="Title and Content">
  <p:cSld name="7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4335826"/>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297342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948400681"/>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2991475842"/>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482281156"/>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43710602"/>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884895618"/>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8939846"/>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096714355"/>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749013803"/>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obj" preserve="1">
  <p:cSld name="9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8261280"/>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obj" preserve="1">
  <p:cSld name="9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4032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9094909"/>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6275345"/>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4765439"/>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63225525"/>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4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2085743"/>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obj" preserve="1">
  <p:cSld name="10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5745974"/>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obj" preserve="1">
  <p:cSld name="10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8209444"/>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9542393"/>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49647863"/>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126226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woObj" preserve="1">
  <p:cSld name="4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7680179"/>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713722"/>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titleOnly" preserve="1">
  <p:cSld name="4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5501239"/>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4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972685"/>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blank" preserve="1">
  <p:cSld name="4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96280440"/>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matchingName="Title and Content">
  <p:cSld name="7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2437044"/>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41909214"/>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908379509"/>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670361"/>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2826221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5810128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77054"/>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66016949"/>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704845964"/>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570458450"/>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5129"/>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063965082"/>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845704"/>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userDrawn="1">
  <p:cSld name="2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788744383"/>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userDrawn="1">
  <p:cSld name="2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033703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729761666"/>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77053812"/>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562344785"/>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444696"/>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1238268420"/>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518987221"/>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cSld name="7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8751995"/>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0207748"/>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5982951"/>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cSld name="7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06500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1792088"/>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242944"/>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271573807"/>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74866711"/>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matchingName="Title and Content">
  <p:cSld name="7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4364310"/>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83842710"/>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133330"/>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91890913"/>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89193353"/>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605679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4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7647485"/>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859587"/>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obj" preserve="1">
  <p:cSld name="7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2602465"/>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twoObj" preserve="1">
  <p:cSld name="4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0290727"/>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232004"/>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itleOnly" preserve="1">
  <p:cSld name="4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9189696"/>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4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7244606"/>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type="blank" preserve="1">
  <p:cSld name="4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10054707"/>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matchingName="Photo Slide">
  <p:cSld name="4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1330558"/>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37870258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11791181"/>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808861"/>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obj" preserve="1">
  <p:cSld name="10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1047129"/>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obj" preserve="1">
  <p:cSld name="10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3668949"/>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obj" preserve="1">
  <p:cSld name="1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356704"/>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0170108"/>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4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31152560"/>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4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56982923"/>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1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7172192"/>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1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5905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obj" preserve="1">
  <p:cSld name="1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235462"/>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1496934"/>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obj" preserve="1">
  <p:cSld name="7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6009079"/>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twoObj" preserve="1">
  <p:cSld name="4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9198842"/>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8456796"/>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titleOnly" preserve="1">
  <p:cSld name="4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466743"/>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4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5509890"/>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blank" preserve="1">
  <p:cSld name="4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501527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76400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28554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5905"/>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8018985"/>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3852074"/>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8673188"/>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241388"/>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0251682"/>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6602726"/>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703801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51193254"/>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50339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2026308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972685"/>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63689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0242538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603082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3943296"/>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5695684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5535348"/>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5594533"/>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14696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4564841"/>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454966026"/>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09905"/>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29445205"/>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00911803"/>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6135247"/>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1861708"/>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788439"/>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78722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6068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4030843"/>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8826401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60118114"/>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609859"/>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25449869"/>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15068536"/>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3334833"/>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7300262"/>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722544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17351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4945590"/>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9571665"/>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740378"/>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4104072"/>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4913747"/>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596403"/>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86434869"/>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4416969"/>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65626881"/>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50315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4377172"/>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450957"/>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253097"/>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7838219"/>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6207789"/>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5190849"/>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33842160"/>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37910379"/>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7201667"/>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726342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4505291"/>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0179259"/>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8520828"/>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9120567"/>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0056760"/>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26625420"/>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7275443"/>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54039860"/>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266136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34118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6012154"/>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736549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6672969"/>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1586515"/>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4257207"/>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1187486"/>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05014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0333381"/>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738625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23899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5788077"/>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288766"/>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19168215"/>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09294127"/>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0791873"/>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96566223"/>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162847"/>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3806591"/>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048452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647511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2584017"/>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4653779"/>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50747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56801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26239605"/>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5009034"/>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8763561"/>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2766965"/>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3340930"/>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272103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66975113"/>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8682359"/>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415566"/>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6470723"/>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239530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99206419"/>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009765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44886"/>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6848039"/>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5568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5585598"/>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99665034"/>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19504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11787088"/>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2036254"/>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62415355"/>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290833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054812"/>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0363243"/>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89210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5178759"/>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6599403"/>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51301500"/>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19150891"/>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84835129"/>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2293898"/>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9747466"/>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200804"/>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3623515"/>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284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8530024"/>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38544240"/>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46275176"/>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07614"/>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589832"/>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30811103"/>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95178971"/>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9173807"/>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5090162"/>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25483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548695"/>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8235244"/>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038667"/>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88696414"/>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29066697"/>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79691680"/>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8401454"/>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12944215"/>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9231021"/>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13325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6252886"/>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5532872"/>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6065673"/>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14040041"/>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67659655"/>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760784"/>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9303961"/>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36625101"/>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50857402"/>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296157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0495944"/>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3452641"/>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60270328"/>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8292891"/>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0207035"/>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2937325"/>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96125234"/>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554630"/>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1333769"/>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5110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9635689"/>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23948"/>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583744"/>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0280334"/>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44048356"/>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43936602"/>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96639294"/>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611618"/>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7437917"/>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47878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969845"/>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51075625"/>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9196001"/>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404334"/>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248757"/>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749642"/>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392445"/>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2740165"/>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61086381"/>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130817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1989815"/>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47235685"/>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5512657"/>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432632"/>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2512517"/>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7381523"/>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7761632"/>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500110"/>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75898557"/>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806928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6059570"/>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1359274"/>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3434421"/>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7839871"/>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3118718"/>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5398886"/>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01061897"/>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4580569"/>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52419085"/>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70241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8880880"/>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95252"/>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1700673"/>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43727484"/>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8411429"/>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17001085"/>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4563164"/>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7491828"/>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6930286"/>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25094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99211572"/>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4501710"/>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52955111"/>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158347759"/>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850973894"/>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367552"/>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47618820"/>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82160721"/>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2489967"/>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086639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68038259"/>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8505181"/>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5199286"/>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03438688"/>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11119815"/>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19698325"/>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2455564"/>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76031727"/>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15985653"/>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37517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38504173"/>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5824853"/>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751292139"/>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14267480"/>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630189"/>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4510172"/>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93974506"/>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35212804"/>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2857452"/>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27364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55899102"/>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462317"/>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190356"/>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4571416"/>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76635898"/>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46585229"/>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7343377"/>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878452"/>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6337092"/>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2334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7881236"/>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63616759"/>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075704"/>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449957"/>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772735"/>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6621005"/>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00432959"/>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9972125"/>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55945728"/>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47022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656722"/>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8893342"/>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9490538"/>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2954919"/>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5073760"/>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73829391"/>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611055085"/>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053550"/>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Title and Content">
  <p:cSld name="3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2371544"/>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598454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3160328"/>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32118961"/>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71570518"/>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83487925"/>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086679"/>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36847893"/>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14182425"/>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05992093"/>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60706365"/>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4138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30037952"/>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488966"/>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0154137"/>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37002741"/>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6820670"/>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811652623"/>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96319435"/>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19493262"/>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4254080"/>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97866031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5006642"/>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8455168"/>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2099894"/>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8432246"/>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96122673"/>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1486735"/>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078108"/>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366747"/>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7723058"/>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34469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41208631"/>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8933103"/>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1938511"/>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743364"/>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1462074"/>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6327004"/>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90757"/>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057902"/>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634185"/>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724930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5085444"/>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1958334"/>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197119510"/>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813441"/>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0131857"/>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708292"/>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0562531"/>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38747718"/>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6908274"/>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364373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58687167"/>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4457799"/>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2234769"/>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1718436"/>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80623742"/>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0164793"/>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6493140"/>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0838351"/>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234495"/>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61069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66750"/>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9664193"/>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6770660"/>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2393760"/>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45771534"/>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5054457"/>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095141"/>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1715567"/>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5559705"/>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993839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18370166"/>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15581856"/>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5316184"/>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9720928"/>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8099187"/>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0529763"/>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6111207"/>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3400963"/>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0761680"/>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77080874"/>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57" Type="http://schemas.openxmlformats.org/officeDocument/2006/relationships/slideLayout" Target="../slideLayouts/slideLayout557.xml"/><Relationship Id="rId599" Type="http://schemas.openxmlformats.org/officeDocument/2006/relationships/slideLayout" Target="../slideLayouts/slideLayout599.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459" Type="http://schemas.openxmlformats.org/officeDocument/2006/relationships/slideLayout" Target="../slideLayouts/slideLayout459.xml"/><Relationship Id="rId624" Type="http://schemas.openxmlformats.org/officeDocument/2006/relationships/slideLayout" Target="../slideLayouts/slideLayout624.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470" Type="http://schemas.openxmlformats.org/officeDocument/2006/relationships/slideLayout" Target="../slideLayouts/slideLayout470.xml"/><Relationship Id="rId526" Type="http://schemas.openxmlformats.org/officeDocument/2006/relationships/slideLayout" Target="../slideLayouts/slideLayout526.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32" Type="http://schemas.openxmlformats.org/officeDocument/2006/relationships/slideLayout" Target="../slideLayouts/slideLayout232.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27" Type="http://schemas.openxmlformats.org/officeDocument/2006/relationships/slideLayout" Target="../slideLayouts/slideLayout27.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37" Type="http://schemas.openxmlformats.org/officeDocument/2006/relationships/slideLayout" Target="../slideLayouts/slideLayout537.xml"/><Relationship Id="rId579" Type="http://schemas.openxmlformats.org/officeDocument/2006/relationships/slideLayout" Target="../slideLayouts/slideLayout579.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41" Type="http://schemas.openxmlformats.org/officeDocument/2006/relationships/slideLayout" Target="../slideLayouts/slideLayout341.xml"/><Relationship Id="rId383" Type="http://schemas.openxmlformats.org/officeDocument/2006/relationships/slideLayout" Target="../slideLayouts/slideLayout383.xml"/><Relationship Id="rId439" Type="http://schemas.openxmlformats.org/officeDocument/2006/relationships/slideLayout" Target="../slideLayouts/slideLayout439.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01" Type="http://schemas.openxmlformats.org/officeDocument/2006/relationships/slideLayout" Target="../slideLayouts/slideLayout201.xml"/><Relationship Id="rId243" Type="http://schemas.openxmlformats.org/officeDocument/2006/relationships/slideLayout" Target="../slideLayouts/slideLayout243.xml"/><Relationship Id="rId285" Type="http://schemas.openxmlformats.org/officeDocument/2006/relationships/slideLayout" Target="../slideLayouts/slideLayout285.xml"/><Relationship Id="rId450" Type="http://schemas.openxmlformats.org/officeDocument/2006/relationships/slideLayout" Target="../slideLayouts/slideLayout450.xml"/><Relationship Id="rId506" Type="http://schemas.openxmlformats.org/officeDocument/2006/relationships/slideLayout" Target="../slideLayouts/slideLayout506.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492" Type="http://schemas.openxmlformats.org/officeDocument/2006/relationships/slideLayout" Target="../slideLayouts/slideLayout492.xml"/><Relationship Id="rId548" Type="http://schemas.openxmlformats.org/officeDocument/2006/relationships/slideLayout" Target="../slideLayouts/slideLayout548.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theme" Target="../theme/theme1.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755.xml"/><Relationship Id="rId21" Type="http://schemas.openxmlformats.org/officeDocument/2006/relationships/slideLayout" Target="../slideLayouts/slideLayout659.xml"/><Relationship Id="rId324" Type="http://schemas.openxmlformats.org/officeDocument/2006/relationships/slideLayout" Target="../slideLayouts/slideLayout962.xml"/><Relationship Id="rId531" Type="http://schemas.openxmlformats.org/officeDocument/2006/relationships/slideLayout" Target="../slideLayouts/slideLayout1169.xml"/><Relationship Id="rId629" Type="http://schemas.openxmlformats.org/officeDocument/2006/relationships/slideLayout" Target="../slideLayouts/slideLayout1267.xml"/><Relationship Id="rId170" Type="http://schemas.openxmlformats.org/officeDocument/2006/relationships/slideLayout" Target="../slideLayouts/slideLayout808.xml"/><Relationship Id="rId268" Type="http://schemas.openxmlformats.org/officeDocument/2006/relationships/slideLayout" Target="../slideLayouts/slideLayout906.xml"/><Relationship Id="rId475" Type="http://schemas.openxmlformats.org/officeDocument/2006/relationships/slideLayout" Target="../slideLayouts/slideLayout1113.xml"/><Relationship Id="rId32" Type="http://schemas.openxmlformats.org/officeDocument/2006/relationships/slideLayout" Target="../slideLayouts/slideLayout670.xml"/><Relationship Id="rId128" Type="http://schemas.openxmlformats.org/officeDocument/2006/relationships/slideLayout" Target="../slideLayouts/slideLayout766.xml"/><Relationship Id="rId335" Type="http://schemas.openxmlformats.org/officeDocument/2006/relationships/slideLayout" Target="../slideLayouts/slideLayout973.xml"/><Relationship Id="rId542" Type="http://schemas.openxmlformats.org/officeDocument/2006/relationships/slideLayout" Target="../slideLayouts/slideLayout1180.xml"/><Relationship Id="rId181" Type="http://schemas.openxmlformats.org/officeDocument/2006/relationships/slideLayout" Target="../slideLayouts/slideLayout819.xml"/><Relationship Id="rId402" Type="http://schemas.openxmlformats.org/officeDocument/2006/relationships/slideLayout" Target="../slideLayouts/slideLayout1040.xml"/><Relationship Id="rId279" Type="http://schemas.openxmlformats.org/officeDocument/2006/relationships/slideLayout" Target="../slideLayouts/slideLayout917.xml"/><Relationship Id="rId486" Type="http://schemas.openxmlformats.org/officeDocument/2006/relationships/slideLayout" Target="../slideLayouts/slideLayout1124.xml"/><Relationship Id="rId43" Type="http://schemas.openxmlformats.org/officeDocument/2006/relationships/slideLayout" Target="../slideLayouts/slideLayout681.xml"/><Relationship Id="rId139" Type="http://schemas.openxmlformats.org/officeDocument/2006/relationships/slideLayout" Target="../slideLayouts/slideLayout777.xml"/><Relationship Id="rId346" Type="http://schemas.openxmlformats.org/officeDocument/2006/relationships/slideLayout" Target="../slideLayouts/slideLayout984.xml"/><Relationship Id="rId553" Type="http://schemas.openxmlformats.org/officeDocument/2006/relationships/slideLayout" Target="../slideLayouts/slideLayout1191.xml"/><Relationship Id="rId192" Type="http://schemas.openxmlformats.org/officeDocument/2006/relationships/slideLayout" Target="../slideLayouts/slideLayout830.xml"/><Relationship Id="rId206" Type="http://schemas.openxmlformats.org/officeDocument/2006/relationships/slideLayout" Target="../slideLayouts/slideLayout844.xml"/><Relationship Id="rId413" Type="http://schemas.openxmlformats.org/officeDocument/2006/relationships/slideLayout" Target="../slideLayouts/slideLayout1051.xml"/><Relationship Id="rId497" Type="http://schemas.openxmlformats.org/officeDocument/2006/relationships/slideLayout" Target="../slideLayouts/slideLayout1135.xml"/><Relationship Id="rId620" Type="http://schemas.openxmlformats.org/officeDocument/2006/relationships/slideLayout" Target="../slideLayouts/slideLayout1258.xml"/><Relationship Id="rId357" Type="http://schemas.openxmlformats.org/officeDocument/2006/relationships/slideLayout" Target="../slideLayouts/slideLayout995.xml"/><Relationship Id="rId54" Type="http://schemas.openxmlformats.org/officeDocument/2006/relationships/slideLayout" Target="../slideLayouts/slideLayout692.xml"/><Relationship Id="rId217" Type="http://schemas.openxmlformats.org/officeDocument/2006/relationships/slideLayout" Target="../slideLayouts/slideLayout855.xml"/><Relationship Id="rId564" Type="http://schemas.openxmlformats.org/officeDocument/2006/relationships/slideLayout" Target="../slideLayouts/slideLayout1202.xml"/><Relationship Id="rId424" Type="http://schemas.openxmlformats.org/officeDocument/2006/relationships/slideLayout" Target="../slideLayouts/slideLayout1062.xml"/><Relationship Id="rId631" Type="http://schemas.openxmlformats.org/officeDocument/2006/relationships/slideLayout" Target="../slideLayouts/slideLayout1269.xml"/><Relationship Id="rId270" Type="http://schemas.openxmlformats.org/officeDocument/2006/relationships/slideLayout" Target="../slideLayouts/slideLayout908.xml"/><Relationship Id="rId65" Type="http://schemas.openxmlformats.org/officeDocument/2006/relationships/slideLayout" Target="../slideLayouts/slideLayout703.xml"/><Relationship Id="rId130" Type="http://schemas.openxmlformats.org/officeDocument/2006/relationships/slideLayout" Target="../slideLayouts/slideLayout768.xml"/><Relationship Id="rId368" Type="http://schemas.openxmlformats.org/officeDocument/2006/relationships/slideLayout" Target="../slideLayouts/slideLayout1006.xml"/><Relationship Id="rId575" Type="http://schemas.openxmlformats.org/officeDocument/2006/relationships/slideLayout" Target="../slideLayouts/slideLayout1213.xml"/><Relationship Id="rId228" Type="http://schemas.openxmlformats.org/officeDocument/2006/relationships/slideLayout" Target="../slideLayouts/slideLayout866.xml"/><Relationship Id="rId435" Type="http://schemas.openxmlformats.org/officeDocument/2006/relationships/slideLayout" Target="../slideLayouts/slideLayout1073.xml"/><Relationship Id="rId281" Type="http://schemas.openxmlformats.org/officeDocument/2006/relationships/slideLayout" Target="../slideLayouts/slideLayout919.xml"/><Relationship Id="rId502" Type="http://schemas.openxmlformats.org/officeDocument/2006/relationships/slideLayout" Target="../slideLayouts/slideLayout1140.xml"/><Relationship Id="rId76" Type="http://schemas.openxmlformats.org/officeDocument/2006/relationships/slideLayout" Target="../slideLayouts/slideLayout714.xml"/><Relationship Id="rId141" Type="http://schemas.openxmlformats.org/officeDocument/2006/relationships/slideLayout" Target="../slideLayouts/slideLayout779.xml"/><Relationship Id="rId379" Type="http://schemas.openxmlformats.org/officeDocument/2006/relationships/slideLayout" Target="../slideLayouts/slideLayout1017.xml"/><Relationship Id="rId586" Type="http://schemas.openxmlformats.org/officeDocument/2006/relationships/slideLayout" Target="../slideLayouts/slideLayout1224.xml"/><Relationship Id="rId7" Type="http://schemas.openxmlformats.org/officeDocument/2006/relationships/slideLayout" Target="../slideLayouts/slideLayout645.xml"/><Relationship Id="rId239" Type="http://schemas.openxmlformats.org/officeDocument/2006/relationships/slideLayout" Target="../slideLayouts/slideLayout877.xml"/><Relationship Id="rId446" Type="http://schemas.openxmlformats.org/officeDocument/2006/relationships/slideLayout" Target="../slideLayouts/slideLayout1084.xml"/><Relationship Id="rId292" Type="http://schemas.openxmlformats.org/officeDocument/2006/relationships/slideLayout" Target="../slideLayouts/slideLayout930.xml"/><Relationship Id="rId306" Type="http://schemas.openxmlformats.org/officeDocument/2006/relationships/slideLayout" Target="../slideLayouts/slideLayout944.xml"/><Relationship Id="rId87" Type="http://schemas.openxmlformats.org/officeDocument/2006/relationships/slideLayout" Target="../slideLayouts/slideLayout725.xml"/><Relationship Id="rId513" Type="http://schemas.openxmlformats.org/officeDocument/2006/relationships/slideLayout" Target="../slideLayouts/slideLayout1151.xml"/><Relationship Id="rId597" Type="http://schemas.openxmlformats.org/officeDocument/2006/relationships/slideLayout" Target="../slideLayouts/slideLayout1235.xml"/><Relationship Id="rId152" Type="http://schemas.openxmlformats.org/officeDocument/2006/relationships/slideLayout" Target="../slideLayouts/slideLayout790.xml"/><Relationship Id="rId457" Type="http://schemas.openxmlformats.org/officeDocument/2006/relationships/slideLayout" Target="../slideLayouts/slideLayout1095.xml"/><Relationship Id="rId14" Type="http://schemas.openxmlformats.org/officeDocument/2006/relationships/slideLayout" Target="../slideLayouts/slideLayout652.xml"/><Relationship Id="rId317" Type="http://schemas.openxmlformats.org/officeDocument/2006/relationships/slideLayout" Target="../slideLayouts/slideLayout955.xml"/><Relationship Id="rId524" Type="http://schemas.openxmlformats.org/officeDocument/2006/relationships/slideLayout" Target="../slideLayouts/slideLayout1162.xml"/><Relationship Id="rId98" Type="http://schemas.openxmlformats.org/officeDocument/2006/relationships/slideLayout" Target="../slideLayouts/slideLayout736.xml"/><Relationship Id="rId163" Type="http://schemas.openxmlformats.org/officeDocument/2006/relationships/slideLayout" Target="../slideLayouts/slideLayout801.xml"/><Relationship Id="rId370" Type="http://schemas.openxmlformats.org/officeDocument/2006/relationships/slideLayout" Target="../slideLayouts/slideLayout1008.xml"/><Relationship Id="rId230" Type="http://schemas.openxmlformats.org/officeDocument/2006/relationships/slideLayout" Target="../slideLayouts/slideLayout868.xml"/><Relationship Id="rId468" Type="http://schemas.openxmlformats.org/officeDocument/2006/relationships/slideLayout" Target="../slideLayouts/slideLayout1106.xml"/><Relationship Id="rId25" Type="http://schemas.openxmlformats.org/officeDocument/2006/relationships/slideLayout" Target="../slideLayouts/slideLayout663.xml"/><Relationship Id="rId328" Type="http://schemas.openxmlformats.org/officeDocument/2006/relationships/slideLayout" Target="../slideLayouts/slideLayout966.xml"/><Relationship Id="rId535" Type="http://schemas.openxmlformats.org/officeDocument/2006/relationships/slideLayout" Target="../slideLayouts/slideLayout1173.xml"/><Relationship Id="rId174" Type="http://schemas.openxmlformats.org/officeDocument/2006/relationships/slideLayout" Target="../slideLayouts/slideLayout812.xml"/><Relationship Id="rId381" Type="http://schemas.openxmlformats.org/officeDocument/2006/relationships/slideLayout" Target="../slideLayouts/slideLayout1019.xml"/><Relationship Id="rId602" Type="http://schemas.openxmlformats.org/officeDocument/2006/relationships/slideLayout" Target="../slideLayouts/slideLayout1240.xml"/><Relationship Id="rId241" Type="http://schemas.openxmlformats.org/officeDocument/2006/relationships/slideLayout" Target="../slideLayouts/slideLayout879.xml"/><Relationship Id="rId479" Type="http://schemas.openxmlformats.org/officeDocument/2006/relationships/slideLayout" Target="../slideLayouts/slideLayout1117.xml"/><Relationship Id="rId36" Type="http://schemas.openxmlformats.org/officeDocument/2006/relationships/slideLayout" Target="../slideLayouts/slideLayout674.xml"/><Relationship Id="rId339" Type="http://schemas.openxmlformats.org/officeDocument/2006/relationships/slideLayout" Target="../slideLayouts/slideLayout977.xml"/><Relationship Id="rId546" Type="http://schemas.openxmlformats.org/officeDocument/2006/relationships/slideLayout" Target="../slideLayouts/slideLayout1184.xml"/><Relationship Id="rId101" Type="http://schemas.openxmlformats.org/officeDocument/2006/relationships/slideLayout" Target="../slideLayouts/slideLayout739.xml"/><Relationship Id="rId185" Type="http://schemas.openxmlformats.org/officeDocument/2006/relationships/slideLayout" Target="../slideLayouts/slideLayout823.xml"/><Relationship Id="rId406" Type="http://schemas.openxmlformats.org/officeDocument/2006/relationships/slideLayout" Target="../slideLayouts/slideLayout1044.xml"/><Relationship Id="rId392" Type="http://schemas.openxmlformats.org/officeDocument/2006/relationships/slideLayout" Target="../slideLayouts/slideLayout1030.xml"/><Relationship Id="rId613" Type="http://schemas.openxmlformats.org/officeDocument/2006/relationships/slideLayout" Target="../slideLayouts/slideLayout1251.xml"/><Relationship Id="rId252" Type="http://schemas.openxmlformats.org/officeDocument/2006/relationships/slideLayout" Target="../slideLayouts/slideLayout890.xml"/><Relationship Id="rId294" Type="http://schemas.openxmlformats.org/officeDocument/2006/relationships/slideLayout" Target="../slideLayouts/slideLayout932.xml"/><Relationship Id="rId308" Type="http://schemas.openxmlformats.org/officeDocument/2006/relationships/slideLayout" Target="../slideLayouts/slideLayout946.xml"/><Relationship Id="rId515" Type="http://schemas.openxmlformats.org/officeDocument/2006/relationships/slideLayout" Target="../slideLayouts/slideLayout1153.xml"/><Relationship Id="rId47" Type="http://schemas.openxmlformats.org/officeDocument/2006/relationships/slideLayout" Target="../slideLayouts/slideLayout685.xml"/><Relationship Id="rId89" Type="http://schemas.openxmlformats.org/officeDocument/2006/relationships/slideLayout" Target="../slideLayouts/slideLayout727.xml"/><Relationship Id="rId112" Type="http://schemas.openxmlformats.org/officeDocument/2006/relationships/slideLayout" Target="../slideLayouts/slideLayout750.xml"/><Relationship Id="rId154" Type="http://schemas.openxmlformats.org/officeDocument/2006/relationships/slideLayout" Target="../slideLayouts/slideLayout792.xml"/><Relationship Id="rId361" Type="http://schemas.openxmlformats.org/officeDocument/2006/relationships/slideLayout" Target="../slideLayouts/slideLayout999.xml"/><Relationship Id="rId557" Type="http://schemas.openxmlformats.org/officeDocument/2006/relationships/slideLayout" Target="../slideLayouts/slideLayout1195.xml"/><Relationship Id="rId599" Type="http://schemas.openxmlformats.org/officeDocument/2006/relationships/slideLayout" Target="../slideLayouts/slideLayout1237.xml"/><Relationship Id="rId196" Type="http://schemas.openxmlformats.org/officeDocument/2006/relationships/slideLayout" Target="../slideLayouts/slideLayout834.xml"/><Relationship Id="rId417" Type="http://schemas.openxmlformats.org/officeDocument/2006/relationships/slideLayout" Target="../slideLayouts/slideLayout1055.xml"/><Relationship Id="rId459" Type="http://schemas.openxmlformats.org/officeDocument/2006/relationships/slideLayout" Target="../slideLayouts/slideLayout1097.xml"/><Relationship Id="rId624" Type="http://schemas.openxmlformats.org/officeDocument/2006/relationships/slideLayout" Target="../slideLayouts/slideLayout1262.xml"/><Relationship Id="rId16" Type="http://schemas.openxmlformats.org/officeDocument/2006/relationships/slideLayout" Target="../slideLayouts/slideLayout654.xml"/><Relationship Id="rId221" Type="http://schemas.openxmlformats.org/officeDocument/2006/relationships/slideLayout" Target="../slideLayouts/slideLayout859.xml"/><Relationship Id="rId263" Type="http://schemas.openxmlformats.org/officeDocument/2006/relationships/slideLayout" Target="../slideLayouts/slideLayout901.xml"/><Relationship Id="rId319" Type="http://schemas.openxmlformats.org/officeDocument/2006/relationships/slideLayout" Target="../slideLayouts/slideLayout957.xml"/><Relationship Id="rId470" Type="http://schemas.openxmlformats.org/officeDocument/2006/relationships/slideLayout" Target="../slideLayouts/slideLayout1108.xml"/><Relationship Id="rId526" Type="http://schemas.openxmlformats.org/officeDocument/2006/relationships/slideLayout" Target="../slideLayouts/slideLayout1164.xml"/><Relationship Id="rId58" Type="http://schemas.openxmlformats.org/officeDocument/2006/relationships/slideLayout" Target="../slideLayouts/slideLayout696.xml"/><Relationship Id="rId123" Type="http://schemas.openxmlformats.org/officeDocument/2006/relationships/slideLayout" Target="../slideLayouts/slideLayout761.xml"/><Relationship Id="rId330" Type="http://schemas.openxmlformats.org/officeDocument/2006/relationships/slideLayout" Target="../slideLayouts/slideLayout968.xml"/><Relationship Id="rId568" Type="http://schemas.openxmlformats.org/officeDocument/2006/relationships/slideLayout" Target="../slideLayouts/slideLayout1206.xml"/><Relationship Id="rId165" Type="http://schemas.openxmlformats.org/officeDocument/2006/relationships/slideLayout" Target="../slideLayouts/slideLayout803.xml"/><Relationship Id="rId372" Type="http://schemas.openxmlformats.org/officeDocument/2006/relationships/slideLayout" Target="../slideLayouts/slideLayout1010.xml"/><Relationship Id="rId428" Type="http://schemas.openxmlformats.org/officeDocument/2006/relationships/slideLayout" Target="../slideLayouts/slideLayout1066.xml"/><Relationship Id="rId635" Type="http://schemas.openxmlformats.org/officeDocument/2006/relationships/slideLayout" Target="../slideLayouts/slideLayout1273.xml"/><Relationship Id="rId232" Type="http://schemas.openxmlformats.org/officeDocument/2006/relationships/slideLayout" Target="../slideLayouts/slideLayout870.xml"/><Relationship Id="rId274" Type="http://schemas.openxmlformats.org/officeDocument/2006/relationships/slideLayout" Target="../slideLayouts/slideLayout912.xml"/><Relationship Id="rId481" Type="http://schemas.openxmlformats.org/officeDocument/2006/relationships/slideLayout" Target="../slideLayouts/slideLayout1119.xml"/><Relationship Id="rId27" Type="http://schemas.openxmlformats.org/officeDocument/2006/relationships/slideLayout" Target="../slideLayouts/slideLayout665.xml"/><Relationship Id="rId69" Type="http://schemas.openxmlformats.org/officeDocument/2006/relationships/slideLayout" Target="../slideLayouts/slideLayout707.xml"/><Relationship Id="rId134" Type="http://schemas.openxmlformats.org/officeDocument/2006/relationships/slideLayout" Target="../slideLayouts/slideLayout772.xml"/><Relationship Id="rId537" Type="http://schemas.openxmlformats.org/officeDocument/2006/relationships/slideLayout" Target="../slideLayouts/slideLayout1175.xml"/><Relationship Id="rId579" Type="http://schemas.openxmlformats.org/officeDocument/2006/relationships/slideLayout" Target="../slideLayouts/slideLayout1217.xml"/><Relationship Id="rId80" Type="http://schemas.openxmlformats.org/officeDocument/2006/relationships/slideLayout" Target="../slideLayouts/slideLayout718.xml"/><Relationship Id="rId176" Type="http://schemas.openxmlformats.org/officeDocument/2006/relationships/slideLayout" Target="../slideLayouts/slideLayout814.xml"/><Relationship Id="rId341" Type="http://schemas.openxmlformats.org/officeDocument/2006/relationships/slideLayout" Target="../slideLayouts/slideLayout979.xml"/><Relationship Id="rId383" Type="http://schemas.openxmlformats.org/officeDocument/2006/relationships/slideLayout" Target="../slideLayouts/slideLayout1021.xml"/><Relationship Id="rId439" Type="http://schemas.openxmlformats.org/officeDocument/2006/relationships/slideLayout" Target="../slideLayouts/slideLayout1077.xml"/><Relationship Id="rId590" Type="http://schemas.openxmlformats.org/officeDocument/2006/relationships/slideLayout" Target="../slideLayouts/slideLayout1228.xml"/><Relationship Id="rId604" Type="http://schemas.openxmlformats.org/officeDocument/2006/relationships/slideLayout" Target="../slideLayouts/slideLayout1242.xml"/><Relationship Id="rId201" Type="http://schemas.openxmlformats.org/officeDocument/2006/relationships/slideLayout" Target="../slideLayouts/slideLayout839.xml"/><Relationship Id="rId243" Type="http://schemas.openxmlformats.org/officeDocument/2006/relationships/slideLayout" Target="../slideLayouts/slideLayout881.xml"/><Relationship Id="rId285" Type="http://schemas.openxmlformats.org/officeDocument/2006/relationships/slideLayout" Target="../slideLayouts/slideLayout923.xml"/><Relationship Id="rId450" Type="http://schemas.openxmlformats.org/officeDocument/2006/relationships/slideLayout" Target="../slideLayouts/slideLayout1088.xml"/><Relationship Id="rId506" Type="http://schemas.openxmlformats.org/officeDocument/2006/relationships/slideLayout" Target="../slideLayouts/slideLayout1144.xml"/><Relationship Id="rId38" Type="http://schemas.openxmlformats.org/officeDocument/2006/relationships/slideLayout" Target="../slideLayouts/slideLayout676.xml"/><Relationship Id="rId103" Type="http://schemas.openxmlformats.org/officeDocument/2006/relationships/slideLayout" Target="../slideLayouts/slideLayout741.xml"/><Relationship Id="rId310" Type="http://schemas.openxmlformats.org/officeDocument/2006/relationships/slideLayout" Target="../slideLayouts/slideLayout948.xml"/><Relationship Id="rId492" Type="http://schemas.openxmlformats.org/officeDocument/2006/relationships/slideLayout" Target="../slideLayouts/slideLayout1130.xml"/><Relationship Id="rId548" Type="http://schemas.openxmlformats.org/officeDocument/2006/relationships/slideLayout" Target="../slideLayouts/slideLayout1186.xml"/><Relationship Id="rId91" Type="http://schemas.openxmlformats.org/officeDocument/2006/relationships/slideLayout" Target="../slideLayouts/slideLayout729.xml"/><Relationship Id="rId145" Type="http://schemas.openxmlformats.org/officeDocument/2006/relationships/slideLayout" Target="../slideLayouts/slideLayout783.xml"/><Relationship Id="rId187" Type="http://schemas.openxmlformats.org/officeDocument/2006/relationships/slideLayout" Target="../slideLayouts/slideLayout825.xml"/><Relationship Id="rId352" Type="http://schemas.openxmlformats.org/officeDocument/2006/relationships/slideLayout" Target="../slideLayouts/slideLayout990.xml"/><Relationship Id="rId394" Type="http://schemas.openxmlformats.org/officeDocument/2006/relationships/slideLayout" Target="../slideLayouts/slideLayout1032.xml"/><Relationship Id="rId408" Type="http://schemas.openxmlformats.org/officeDocument/2006/relationships/slideLayout" Target="../slideLayouts/slideLayout1046.xml"/><Relationship Id="rId615" Type="http://schemas.openxmlformats.org/officeDocument/2006/relationships/slideLayout" Target="../slideLayouts/slideLayout1253.xml"/><Relationship Id="rId212" Type="http://schemas.openxmlformats.org/officeDocument/2006/relationships/slideLayout" Target="../slideLayouts/slideLayout850.xml"/><Relationship Id="rId254" Type="http://schemas.openxmlformats.org/officeDocument/2006/relationships/slideLayout" Target="../slideLayouts/slideLayout892.xml"/><Relationship Id="rId49" Type="http://schemas.openxmlformats.org/officeDocument/2006/relationships/slideLayout" Target="../slideLayouts/slideLayout687.xml"/><Relationship Id="rId114" Type="http://schemas.openxmlformats.org/officeDocument/2006/relationships/slideLayout" Target="../slideLayouts/slideLayout752.xml"/><Relationship Id="rId296" Type="http://schemas.openxmlformats.org/officeDocument/2006/relationships/slideLayout" Target="../slideLayouts/slideLayout934.xml"/><Relationship Id="rId461" Type="http://schemas.openxmlformats.org/officeDocument/2006/relationships/slideLayout" Target="../slideLayouts/slideLayout1099.xml"/><Relationship Id="rId517" Type="http://schemas.openxmlformats.org/officeDocument/2006/relationships/slideLayout" Target="../slideLayouts/slideLayout1155.xml"/><Relationship Id="rId559" Type="http://schemas.openxmlformats.org/officeDocument/2006/relationships/slideLayout" Target="../slideLayouts/slideLayout1197.xml"/><Relationship Id="rId60" Type="http://schemas.openxmlformats.org/officeDocument/2006/relationships/slideLayout" Target="../slideLayouts/slideLayout698.xml"/><Relationship Id="rId156" Type="http://schemas.openxmlformats.org/officeDocument/2006/relationships/slideLayout" Target="../slideLayouts/slideLayout794.xml"/><Relationship Id="rId198" Type="http://schemas.openxmlformats.org/officeDocument/2006/relationships/slideLayout" Target="../slideLayouts/slideLayout836.xml"/><Relationship Id="rId321" Type="http://schemas.openxmlformats.org/officeDocument/2006/relationships/slideLayout" Target="../slideLayouts/slideLayout959.xml"/><Relationship Id="rId363" Type="http://schemas.openxmlformats.org/officeDocument/2006/relationships/slideLayout" Target="../slideLayouts/slideLayout1001.xml"/><Relationship Id="rId419" Type="http://schemas.openxmlformats.org/officeDocument/2006/relationships/slideLayout" Target="../slideLayouts/slideLayout1057.xml"/><Relationship Id="rId570" Type="http://schemas.openxmlformats.org/officeDocument/2006/relationships/slideLayout" Target="../slideLayouts/slideLayout1208.xml"/><Relationship Id="rId626" Type="http://schemas.openxmlformats.org/officeDocument/2006/relationships/slideLayout" Target="../slideLayouts/slideLayout1264.xml"/><Relationship Id="rId223" Type="http://schemas.openxmlformats.org/officeDocument/2006/relationships/slideLayout" Target="../slideLayouts/slideLayout861.xml"/><Relationship Id="rId430" Type="http://schemas.openxmlformats.org/officeDocument/2006/relationships/slideLayout" Target="../slideLayouts/slideLayout1068.xml"/><Relationship Id="rId18" Type="http://schemas.openxmlformats.org/officeDocument/2006/relationships/slideLayout" Target="../slideLayouts/slideLayout656.xml"/><Relationship Id="rId265" Type="http://schemas.openxmlformats.org/officeDocument/2006/relationships/slideLayout" Target="../slideLayouts/slideLayout903.xml"/><Relationship Id="rId472" Type="http://schemas.openxmlformats.org/officeDocument/2006/relationships/slideLayout" Target="../slideLayouts/slideLayout1110.xml"/><Relationship Id="rId528" Type="http://schemas.openxmlformats.org/officeDocument/2006/relationships/slideLayout" Target="../slideLayouts/slideLayout1166.xml"/><Relationship Id="rId125" Type="http://schemas.openxmlformats.org/officeDocument/2006/relationships/slideLayout" Target="../slideLayouts/slideLayout763.xml"/><Relationship Id="rId167" Type="http://schemas.openxmlformats.org/officeDocument/2006/relationships/slideLayout" Target="../slideLayouts/slideLayout805.xml"/><Relationship Id="rId332" Type="http://schemas.openxmlformats.org/officeDocument/2006/relationships/slideLayout" Target="../slideLayouts/slideLayout970.xml"/><Relationship Id="rId374" Type="http://schemas.openxmlformats.org/officeDocument/2006/relationships/slideLayout" Target="../slideLayouts/slideLayout1012.xml"/><Relationship Id="rId581" Type="http://schemas.openxmlformats.org/officeDocument/2006/relationships/slideLayout" Target="../slideLayouts/slideLayout1219.xml"/><Relationship Id="rId71" Type="http://schemas.openxmlformats.org/officeDocument/2006/relationships/slideLayout" Target="../slideLayouts/slideLayout709.xml"/><Relationship Id="rId234" Type="http://schemas.openxmlformats.org/officeDocument/2006/relationships/slideLayout" Target="../slideLayouts/slideLayout872.xml"/><Relationship Id="rId637" Type="http://schemas.openxmlformats.org/officeDocument/2006/relationships/slideLayout" Target="../slideLayouts/slideLayout1275.xml"/><Relationship Id="rId2" Type="http://schemas.openxmlformats.org/officeDocument/2006/relationships/slideLayout" Target="../slideLayouts/slideLayout640.xml"/><Relationship Id="rId29" Type="http://schemas.openxmlformats.org/officeDocument/2006/relationships/slideLayout" Target="../slideLayouts/slideLayout667.xml"/><Relationship Id="rId276" Type="http://schemas.openxmlformats.org/officeDocument/2006/relationships/slideLayout" Target="../slideLayouts/slideLayout914.xml"/><Relationship Id="rId441" Type="http://schemas.openxmlformats.org/officeDocument/2006/relationships/slideLayout" Target="../slideLayouts/slideLayout1079.xml"/><Relationship Id="rId483" Type="http://schemas.openxmlformats.org/officeDocument/2006/relationships/slideLayout" Target="../slideLayouts/slideLayout1121.xml"/><Relationship Id="rId539" Type="http://schemas.openxmlformats.org/officeDocument/2006/relationships/slideLayout" Target="../slideLayouts/slideLayout1177.xml"/><Relationship Id="rId40" Type="http://schemas.openxmlformats.org/officeDocument/2006/relationships/slideLayout" Target="../slideLayouts/slideLayout678.xml"/><Relationship Id="rId136" Type="http://schemas.openxmlformats.org/officeDocument/2006/relationships/slideLayout" Target="../slideLayouts/slideLayout774.xml"/><Relationship Id="rId178" Type="http://schemas.openxmlformats.org/officeDocument/2006/relationships/slideLayout" Target="../slideLayouts/slideLayout816.xml"/><Relationship Id="rId301" Type="http://schemas.openxmlformats.org/officeDocument/2006/relationships/slideLayout" Target="../slideLayouts/slideLayout939.xml"/><Relationship Id="rId343" Type="http://schemas.openxmlformats.org/officeDocument/2006/relationships/slideLayout" Target="../slideLayouts/slideLayout981.xml"/><Relationship Id="rId550" Type="http://schemas.openxmlformats.org/officeDocument/2006/relationships/slideLayout" Target="../slideLayouts/slideLayout1188.xml"/><Relationship Id="rId82" Type="http://schemas.openxmlformats.org/officeDocument/2006/relationships/slideLayout" Target="../slideLayouts/slideLayout720.xml"/><Relationship Id="rId203" Type="http://schemas.openxmlformats.org/officeDocument/2006/relationships/slideLayout" Target="../slideLayouts/slideLayout841.xml"/><Relationship Id="rId385" Type="http://schemas.openxmlformats.org/officeDocument/2006/relationships/slideLayout" Target="../slideLayouts/slideLayout1023.xml"/><Relationship Id="rId592" Type="http://schemas.openxmlformats.org/officeDocument/2006/relationships/slideLayout" Target="../slideLayouts/slideLayout1230.xml"/><Relationship Id="rId606" Type="http://schemas.openxmlformats.org/officeDocument/2006/relationships/slideLayout" Target="../slideLayouts/slideLayout1244.xml"/><Relationship Id="rId245" Type="http://schemas.openxmlformats.org/officeDocument/2006/relationships/slideLayout" Target="../slideLayouts/slideLayout883.xml"/><Relationship Id="rId287" Type="http://schemas.openxmlformats.org/officeDocument/2006/relationships/slideLayout" Target="../slideLayouts/slideLayout925.xml"/><Relationship Id="rId410" Type="http://schemas.openxmlformats.org/officeDocument/2006/relationships/slideLayout" Target="../slideLayouts/slideLayout1048.xml"/><Relationship Id="rId452" Type="http://schemas.openxmlformats.org/officeDocument/2006/relationships/slideLayout" Target="../slideLayouts/slideLayout1090.xml"/><Relationship Id="rId494" Type="http://schemas.openxmlformats.org/officeDocument/2006/relationships/slideLayout" Target="../slideLayouts/slideLayout1132.xml"/><Relationship Id="rId508" Type="http://schemas.openxmlformats.org/officeDocument/2006/relationships/slideLayout" Target="../slideLayouts/slideLayout1146.xml"/><Relationship Id="rId105" Type="http://schemas.openxmlformats.org/officeDocument/2006/relationships/slideLayout" Target="../slideLayouts/slideLayout743.xml"/><Relationship Id="rId147" Type="http://schemas.openxmlformats.org/officeDocument/2006/relationships/slideLayout" Target="../slideLayouts/slideLayout785.xml"/><Relationship Id="rId312" Type="http://schemas.openxmlformats.org/officeDocument/2006/relationships/slideLayout" Target="../slideLayouts/slideLayout950.xml"/><Relationship Id="rId354" Type="http://schemas.openxmlformats.org/officeDocument/2006/relationships/slideLayout" Target="../slideLayouts/slideLayout992.xml"/><Relationship Id="rId51" Type="http://schemas.openxmlformats.org/officeDocument/2006/relationships/slideLayout" Target="../slideLayouts/slideLayout689.xml"/><Relationship Id="rId93" Type="http://schemas.openxmlformats.org/officeDocument/2006/relationships/slideLayout" Target="../slideLayouts/slideLayout731.xml"/><Relationship Id="rId189" Type="http://schemas.openxmlformats.org/officeDocument/2006/relationships/slideLayout" Target="../slideLayouts/slideLayout827.xml"/><Relationship Id="rId396" Type="http://schemas.openxmlformats.org/officeDocument/2006/relationships/slideLayout" Target="../slideLayouts/slideLayout1034.xml"/><Relationship Id="rId561" Type="http://schemas.openxmlformats.org/officeDocument/2006/relationships/slideLayout" Target="../slideLayouts/slideLayout1199.xml"/><Relationship Id="rId617" Type="http://schemas.openxmlformats.org/officeDocument/2006/relationships/slideLayout" Target="../slideLayouts/slideLayout1255.xml"/><Relationship Id="rId214" Type="http://schemas.openxmlformats.org/officeDocument/2006/relationships/slideLayout" Target="../slideLayouts/slideLayout852.xml"/><Relationship Id="rId256" Type="http://schemas.openxmlformats.org/officeDocument/2006/relationships/slideLayout" Target="../slideLayouts/slideLayout894.xml"/><Relationship Id="rId298" Type="http://schemas.openxmlformats.org/officeDocument/2006/relationships/slideLayout" Target="../slideLayouts/slideLayout936.xml"/><Relationship Id="rId421" Type="http://schemas.openxmlformats.org/officeDocument/2006/relationships/slideLayout" Target="../slideLayouts/slideLayout1059.xml"/><Relationship Id="rId463" Type="http://schemas.openxmlformats.org/officeDocument/2006/relationships/slideLayout" Target="../slideLayouts/slideLayout1101.xml"/><Relationship Id="rId519" Type="http://schemas.openxmlformats.org/officeDocument/2006/relationships/slideLayout" Target="../slideLayouts/slideLayout1157.xml"/><Relationship Id="rId116" Type="http://schemas.openxmlformats.org/officeDocument/2006/relationships/slideLayout" Target="../slideLayouts/slideLayout754.xml"/><Relationship Id="rId158" Type="http://schemas.openxmlformats.org/officeDocument/2006/relationships/slideLayout" Target="../slideLayouts/slideLayout796.xml"/><Relationship Id="rId323" Type="http://schemas.openxmlformats.org/officeDocument/2006/relationships/slideLayout" Target="../slideLayouts/slideLayout961.xml"/><Relationship Id="rId530" Type="http://schemas.openxmlformats.org/officeDocument/2006/relationships/slideLayout" Target="../slideLayouts/slideLayout1168.xml"/><Relationship Id="rId20" Type="http://schemas.openxmlformats.org/officeDocument/2006/relationships/slideLayout" Target="../slideLayouts/slideLayout658.xml"/><Relationship Id="rId62" Type="http://schemas.openxmlformats.org/officeDocument/2006/relationships/slideLayout" Target="../slideLayouts/slideLayout700.xml"/><Relationship Id="rId365" Type="http://schemas.openxmlformats.org/officeDocument/2006/relationships/slideLayout" Target="../slideLayouts/slideLayout1003.xml"/><Relationship Id="rId572" Type="http://schemas.openxmlformats.org/officeDocument/2006/relationships/slideLayout" Target="../slideLayouts/slideLayout1210.xml"/><Relationship Id="rId628" Type="http://schemas.openxmlformats.org/officeDocument/2006/relationships/slideLayout" Target="../slideLayouts/slideLayout1266.xml"/><Relationship Id="rId225" Type="http://schemas.openxmlformats.org/officeDocument/2006/relationships/slideLayout" Target="../slideLayouts/slideLayout863.xml"/><Relationship Id="rId267" Type="http://schemas.openxmlformats.org/officeDocument/2006/relationships/slideLayout" Target="../slideLayouts/slideLayout905.xml"/><Relationship Id="rId432" Type="http://schemas.openxmlformats.org/officeDocument/2006/relationships/slideLayout" Target="../slideLayouts/slideLayout1070.xml"/><Relationship Id="rId474" Type="http://schemas.openxmlformats.org/officeDocument/2006/relationships/slideLayout" Target="../slideLayouts/slideLayout1112.xml"/><Relationship Id="rId127" Type="http://schemas.openxmlformats.org/officeDocument/2006/relationships/slideLayout" Target="../slideLayouts/slideLayout765.xml"/><Relationship Id="rId31" Type="http://schemas.openxmlformats.org/officeDocument/2006/relationships/slideLayout" Target="../slideLayouts/slideLayout669.xml"/><Relationship Id="rId73" Type="http://schemas.openxmlformats.org/officeDocument/2006/relationships/slideLayout" Target="../slideLayouts/slideLayout711.xml"/><Relationship Id="rId169" Type="http://schemas.openxmlformats.org/officeDocument/2006/relationships/slideLayout" Target="../slideLayouts/slideLayout807.xml"/><Relationship Id="rId334" Type="http://schemas.openxmlformats.org/officeDocument/2006/relationships/slideLayout" Target="../slideLayouts/slideLayout972.xml"/><Relationship Id="rId376" Type="http://schemas.openxmlformats.org/officeDocument/2006/relationships/slideLayout" Target="../slideLayouts/slideLayout1014.xml"/><Relationship Id="rId541" Type="http://schemas.openxmlformats.org/officeDocument/2006/relationships/slideLayout" Target="../slideLayouts/slideLayout1179.xml"/><Relationship Id="rId583" Type="http://schemas.openxmlformats.org/officeDocument/2006/relationships/slideLayout" Target="../slideLayouts/slideLayout1221.xml"/><Relationship Id="rId639" Type="http://schemas.openxmlformats.org/officeDocument/2006/relationships/slideLayout" Target="../slideLayouts/slideLayout1277.xml"/><Relationship Id="rId4" Type="http://schemas.openxmlformats.org/officeDocument/2006/relationships/slideLayout" Target="../slideLayouts/slideLayout642.xml"/><Relationship Id="rId180" Type="http://schemas.openxmlformats.org/officeDocument/2006/relationships/slideLayout" Target="../slideLayouts/slideLayout818.xml"/><Relationship Id="rId236" Type="http://schemas.openxmlformats.org/officeDocument/2006/relationships/slideLayout" Target="../slideLayouts/slideLayout874.xml"/><Relationship Id="rId278" Type="http://schemas.openxmlformats.org/officeDocument/2006/relationships/slideLayout" Target="../slideLayouts/slideLayout916.xml"/><Relationship Id="rId401" Type="http://schemas.openxmlformats.org/officeDocument/2006/relationships/slideLayout" Target="../slideLayouts/slideLayout1039.xml"/><Relationship Id="rId443" Type="http://schemas.openxmlformats.org/officeDocument/2006/relationships/slideLayout" Target="../slideLayouts/slideLayout1081.xml"/><Relationship Id="rId303" Type="http://schemas.openxmlformats.org/officeDocument/2006/relationships/slideLayout" Target="../slideLayouts/slideLayout941.xml"/><Relationship Id="rId485" Type="http://schemas.openxmlformats.org/officeDocument/2006/relationships/slideLayout" Target="../slideLayouts/slideLayout1123.xml"/><Relationship Id="rId42" Type="http://schemas.openxmlformats.org/officeDocument/2006/relationships/slideLayout" Target="../slideLayouts/slideLayout680.xml"/><Relationship Id="rId84" Type="http://schemas.openxmlformats.org/officeDocument/2006/relationships/slideLayout" Target="../slideLayouts/slideLayout722.xml"/><Relationship Id="rId138" Type="http://schemas.openxmlformats.org/officeDocument/2006/relationships/slideLayout" Target="../slideLayouts/slideLayout776.xml"/><Relationship Id="rId345" Type="http://schemas.openxmlformats.org/officeDocument/2006/relationships/slideLayout" Target="../slideLayouts/slideLayout983.xml"/><Relationship Id="rId387" Type="http://schemas.openxmlformats.org/officeDocument/2006/relationships/slideLayout" Target="../slideLayouts/slideLayout1025.xml"/><Relationship Id="rId510" Type="http://schemas.openxmlformats.org/officeDocument/2006/relationships/slideLayout" Target="../slideLayouts/slideLayout1148.xml"/><Relationship Id="rId552" Type="http://schemas.openxmlformats.org/officeDocument/2006/relationships/slideLayout" Target="../slideLayouts/slideLayout1190.xml"/><Relationship Id="rId594" Type="http://schemas.openxmlformats.org/officeDocument/2006/relationships/slideLayout" Target="../slideLayouts/slideLayout1232.xml"/><Relationship Id="rId608" Type="http://schemas.openxmlformats.org/officeDocument/2006/relationships/slideLayout" Target="../slideLayouts/slideLayout1246.xml"/><Relationship Id="rId191" Type="http://schemas.openxmlformats.org/officeDocument/2006/relationships/slideLayout" Target="../slideLayouts/slideLayout829.xml"/><Relationship Id="rId205" Type="http://schemas.openxmlformats.org/officeDocument/2006/relationships/slideLayout" Target="../slideLayouts/slideLayout843.xml"/><Relationship Id="rId247" Type="http://schemas.openxmlformats.org/officeDocument/2006/relationships/slideLayout" Target="../slideLayouts/slideLayout885.xml"/><Relationship Id="rId412" Type="http://schemas.openxmlformats.org/officeDocument/2006/relationships/slideLayout" Target="../slideLayouts/slideLayout1050.xml"/><Relationship Id="rId107" Type="http://schemas.openxmlformats.org/officeDocument/2006/relationships/slideLayout" Target="../slideLayouts/slideLayout745.xml"/><Relationship Id="rId289" Type="http://schemas.openxmlformats.org/officeDocument/2006/relationships/slideLayout" Target="../slideLayouts/slideLayout927.xml"/><Relationship Id="rId454" Type="http://schemas.openxmlformats.org/officeDocument/2006/relationships/slideLayout" Target="../slideLayouts/slideLayout1092.xml"/><Relationship Id="rId496" Type="http://schemas.openxmlformats.org/officeDocument/2006/relationships/slideLayout" Target="../slideLayouts/slideLayout1134.xml"/><Relationship Id="rId11" Type="http://schemas.openxmlformats.org/officeDocument/2006/relationships/slideLayout" Target="../slideLayouts/slideLayout649.xml"/><Relationship Id="rId53" Type="http://schemas.openxmlformats.org/officeDocument/2006/relationships/slideLayout" Target="../slideLayouts/slideLayout691.xml"/><Relationship Id="rId149" Type="http://schemas.openxmlformats.org/officeDocument/2006/relationships/slideLayout" Target="../slideLayouts/slideLayout787.xml"/><Relationship Id="rId314" Type="http://schemas.openxmlformats.org/officeDocument/2006/relationships/slideLayout" Target="../slideLayouts/slideLayout952.xml"/><Relationship Id="rId356" Type="http://schemas.openxmlformats.org/officeDocument/2006/relationships/slideLayout" Target="../slideLayouts/slideLayout994.xml"/><Relationship Id="rId398" Type="http://schemas.openxmlformats.org/officeDocument/2006/relationships/slideLayout" Target="../slideLayouts/slideLayout1036.xml"/><Relationship Id="rId521" Type="http://schemas.openxmlformats.org/officeDocument/2006/relationships/slideLayout" Target="../slideLayouts/slideLayout1159.xml"/><Relationship Id="rId563" Type="http://schemas.openxmlformats.org/officeDocument/2006/relationships/slideLayout" Target="../slideLayouts/slideLayout1201.xml"/><Relationship Id="rId619" Type="http://schemas.openxmlformats.org/officeDocument/2006/relationships/slideLayout" Target="../slideLayouts/slideLayout1257.xml"/><Relationship Id="rId95" Type="http://schemas.openxmlformats.org/officeDocument/2006/relationships/slideLayout" Target="../slideLayouts/slideLayout733.xml"/><Relationship Id="rId160" Type="http://schemas.openxmlformats.org/officeDocument/2006/relationships/slideLayout" Target="../slideLayouts/slideLayout798.xml"/><Relationship Id="rId216" Type="http://schemas.openxmlformats.org/officeDocument/2006/relationships/slideLayout" Target="../slideLayouts/slideLayout854.xml"/><Relationship Id="rId423" Type="http://schemas.openxmlformats.org/officeDocument/2006/relationships/slideLayout" Target="../slideLayouts/slideLayout1061.xml"/><Relationship Id="rId258" Type="http://schemas.openxmlformats.org/officeDocument/2006/relationships/slideLayout" Target="../slideLayouts/slideLayout896.xml"/><Relationship Id="rId465" Type="http://schemas.openxmlformats.org/officeDocument/2006/relationships/slideLayout" Target="../slideLayouts/slideLayout1103.xml"/><Relationship Id="rId630" Type="http://schemas.openxmlformats.org/officeDocument/2006/relationships/slideLayout" Target="../slideLayouts/slideLayout1268.xml"/><Relationship Id="rId22" Type="http://schemas.openxmlformats.org/officeDocument/2006/relationships/slideLayout" Target="../slideLayouts/slideLayout660.xml"/><Relationship Id="rId64" Type="http://schemas.openxmlformats.org/officeDocument/2006/relationships/slideLayout" Target="../slideLayouts/slideLayout702.xml"/><Relationship Id="rId118" Type="http://schemas.openxmlformats.org/officeDocument/2006/relationships/slideLayout" Target="../slideLayouts/slideLayout756.xml"/><Relationship Id="rId325" Type="http://schemas.openxmlformats.org/officeDocument/2006/relationships/slideLayout" Target="../slideLayouts/slideLayout963.xml"/><Relationship Id="rId367" Type="http://schemas.openxmlformats.org/officeDocument/2006/relationships/slideLayout" Target="../slideLayouts/slideLayout1005.xml"/><Relationship Id="rId532" Type="http://schemas.openxmlformats.org/officeDocument/2006/relationships/slideLayout" Target="../slideLayouts/slideLayout1170.xml"/><Relationship Id="rId574" Type="http://schemas.openxmlformats.org/officeDocument/2006/relationships/slideLayout" Target="../slideLayouts/slideLayout1212.xml"/><Relationship Id="rId171" Type="http://schemas.openxmlformats.org/officeDocument/2006/relationships/slideLayout" Target="../slideLayouts/slideLayout809.xml"/><Relationship Id="rId227" Type="http://schemas.openxmlformats.org/officeDocument/2006/relationships/slideLayout" Target="../slideLayouts/slideLayout865.xml"/><Relationship Id="rId269" Type="http://schemas.openxmlformats.org/officeDocument/2006/relationships/slideLayout" Target="../slideLayouts/slideLayout907.xml"/><Relationship Id="rId434" Type="http://schemas.openxmlformats.org/officeDocument/2006/relationships/slideLayout" Target="../slideLayouts/slideLayout1072.xml"/><Relationship Id="rId476" Type="http://schemas.openxmlformats.org/officeDocument/2006/relationships/slideLayout" Target="../slideLayouts/slideLayout1114.xml"/><Relationship Id="rId33" Type="http://schemas.openxmlformats.org/officeDocument/2006/relationships/slideLayout" Target="../slideLayouts/slideLayout671.xml"/><Relationship Id="rId129" Type="http://schemas.openxmlformats.org/officeDocument/2006/relationships/slideLayout" Target="../slideLayouts/slideLayout767.xml"/><Relationship Id="rId280" Type="http://schemas.openxmlformats.org/officeDocument/2006/relationships/slideLayout" Target="../slideLayouts/slideLayout918.xml"/><Relationship Id="rId336" Type="http://schemas.openxmlformats.org/officeDocument/2006/relationships/slideLayout" Target="../slideLayouts/slideLayout974.xml"/><Relationship Id="rId501" Type="http://schemas.openxmlformats.org/officeDocument/2006/relationships/slideLayout" Target="../slideLayouts/slideLayout1139.xml"/><Relationship Id="rId543" Type="http://schemas.openxmlformats.org/officeDocument/2006/relationships/slideLayout" Target="../slideLayouts/slideLayout1181.xml"/><Relationship Id="rId75" Type="http://schemas.openxmlformats.org/officeDocument/2006/relationships/slideLayout" Target="../slideLayouts/slideLayout713.xml"/><Relationship Id="rId140" Type="http://schemas.openxmlformats.org/officeDocument/2006/relationships/slideLayout" Target="../slideLayouts/slideLayout778.xml"/><Relationship Id="rId182" Type="http://schemas.openxmlformats.org/officeDocument/2006/relationships/slideLayout" Target="../slideLayouts/slideLayout820.xml"/><Relationship Id="rId378" Type="http://schemas.openxmlformats.org/officeDocument/2006/relationships/slideLayout" Target="../slideLayouts/slideLayout1016.xml"/><Relationship Id="rId403" Type="http://schemas.openxmlformats.org/officeDocument/2006/relationships/slideLayout" Target="../slideLayouts/slideLayout1041.xml"/><Relationship Id="rId585" Type="http://schemas.openxmlformats.org/officeDocument/2006/relationships/slideLayout" Target="../slideLayouts/slideLayout1223.xml"/><Relationship Id="rId6" Type="http://schemas.openxmlformats.org/officeDocument/2006/relationships/slideLayout" Target="../slideLayouts/slideLayout644.xml"/><Relationship Id="rId238" Type="http://schemas.openxmlformats.org/officeDocument/2006/relationships/slideLayout" Target="../slideLayouts/slideLayout876.xml"/><Relationship Id="rId445" Type="http://schemas.openxmlformats.org/officeDocument/2006/relationships/slideLayout" Target="../slideLayouts/slideLayout1083.xml"/><Relationship Id="rId487" Type="http://schemas.openxmlformats.org/officeDocument/2006/relationships/slideLayout" Target="../slideLayouts/slideLayout1125.xml"/><Relationship Id="rId610" Type="http://schemas.openxmlformats.org/officeDocument/2006/relationships/slideLayout" Target="../slideLayouts/slideLayout1248.xml"/><Relationship Id="rId291" Type="http://schemas.openxmlformats.org/officeDocument/2006/relationships/slideLayout" Target="../slideLayouts/slideLayout929.xml"/><Relationship Id="rId305" Type="http://schemas.openxmlformats.org/officeDocument/2006/relationships/slideLayout" Target="../slideLayouts/slideLayout943.xml"/><Relationship Id="rId347" Type="http://schemas.openxmlformats.org/officeDocument/2006/relationships/slideLayout" Target="../slideLayouts/slideLayout985.xml"/><Relationship Id="rId512" Type="http://schemas.openxmlformats.org/officeDocument/2006/relationships/slideLayout" Target="../slideLayouts/slideLayout1150.xml"/><Relationship Id="rId44" Type="http://schemas.openxmlformats.org/officeDocument/2006/relationships/slideLayout" Target="../slideLayouts/slideLayout682.xml"/><Relationship Id="rId86" Type="http://schemas.openxmlformats.org/officeDocument/2006/relationships/slideLayout" Target="../slideLayouts/slideLayout724.xml"/><Relationship Id="rId151" Type="http://schemas.openxmlformats.org/officeDocument/2006/relationships/slideLayout" Target="../slideLayouts/slideLayout789.xml"/><Relationship Id="rId389" Type="http://schemas.openxmlformats.org/officeDocument/2006/relationships/slideLayout" Target="../slideLayouts/slideLayout1027.xml"/><Relationship Id="rId554" Type="http://schemas.openxmlformats.org/officeDocument/2006/relationships/slideLayout" Target="../slideLayouts/slideLayout1192.xml"/><Relationship Id="rId596" Type="http://schemas.openxmlformats.org/officeDocument/2006/relationships/slideLayout" Target="../slideLayouts/slideLayout1234.xml"/><Relationship Id="rId193" Type="http://schemas.openxmlformats.org/officeDocument/2006/relationships/slideLayout" Target="../slideLayouts/slideLayout831.xml"/><Relationship Id="rId207" Type="http://schemas.openxmlformats.org/officeDocument/2006/relationships/slideLayout" Target="../slideLayouts/slideLayout845.xml"/><Relationship Id="rId249" Type="http://schemas.openxmlformats.org/officeDocument/2006/relationships/slideLayout" Target="../slideLayouts/slideLayout887.xml"/><Relationship Id="rId414" Type="http://schemas.openxmlformats.org/officeDocument/2006/relationships/slideLayout" Target="../slideLayouts/slideLayout1052.xml"/><Relationship Id="rId456" Type="http://schemas.openxmlformats.org/officeDocument/2006/relationships/slideLayout" Target="../slideLayouts/slideLayout1094.xml"/><Relationship Id="rId498" Type="http://schemas.openxmlformats.org/officeDocument/2006/relationships/slideLayout" Target="../slideLayouts/slideLayout1136.xml"/><Relationship Id="rId621" Type="http://schemas.openxmlformats.org/officeDocument/2006/relationships/slideLayout" Target="../slideLayouts/slideLayout1259.xml"/><Relationship Id="rId13" Type="http://schemas.openxmlformats.org/officeDocument/2006/relationships/slideLayout" Target="../slideLayouts/slideLayout651.xml"/><Relationship Id="rId109" Type="http://schemas.openxmlformats.org/officeDocument/2006/relationships/slideLayout" Target="../slideLayouts/slideLayout747.xml"/><Relationship Id="rId260" Type="http://schemas.openxmlformats.org/officeDocument/2006/relationships/slideLayout" Target="../slideLayouts/slideLayout898.xml"/><Relationship Id="rId316" Type="http://schemas.openxmlformats.org/officeDocument/2006/relationships/slideLayout" Target="../slideLayouts/slideLayout954.xml"/><Relationship Id="rId523" Type="http://schemas.openxmlformats.org/officeDocument/2006/relationships/slideLayout" Target="../slideLayouts/slideLayout1161.xml"/><Relationship Id="rId55" Type="http://schemas.openxmlformats.org/officeDocument/2006/relationships/slideLayout" Target="../slideLayouts/slideLayout693.xml"/><Relationship Id="rId97" Type="http://schemas.openxmlformats.org/officeDocument/2006/relationships/slideLayout" Target="../slideLayouts/slideLayout735.xml"/><Relationship Id="rId120" Type="http://schemas.openxmlformats.org/officeDocument/2006/relationships/slideLayout" Target="../slideLayouts/slideLayout758.xml"/><Relationship Id="rId358" Type="http://schemas.openxmlformats.org/officeDocument/2006/relationships/slideLayout" Target="../slideLayouts/slideLayout996.xml"/><Relationship Id="rId565" Type="http://schemas.openxmlformats.org/officeDocument/2006/relationships/slideLayout" Target="../slideLayouts/slideLayout1203.xml"/><Relationship Id="rId162" Type="http://schemas.openxmlformats.org/officeDocument/2006/relationships/slideLayout" Target="../slideLayouts/slideLayout800.xml"/><Relationship Id="rId218" Type="http://schemas.openxmlformats.org/officeDocument/2006/relationships/slideLayout" Target="../slideLayouts/slideLayout856.xml"/><Relationship Id="rId425" Type="http://schemas.openxmlformats.org/officeDocument/2006/relationships/slideLayout" Target="../slideLayouts/slideLayout1063.xml"/><Relationship Id="rId467" Type="http://schemas.openxmlformats.org/officeDocument/2006/relationships/slideLayout" Target="../slideLayouts/slideLayout1105.xml"/><Relationship Id="rId632" Type="http://schemas.openxmlformats.org/officeDocument/2006/relationships/slideLayout" Target="../slideLayouts/slideLayout1270.xml"/><Relationship Id="rId271" Type="http://schemas.openxmlformats.org/officeDocument/2006/relationships/slideLayout" Target="../slideLayouts/slideLayout909.xml"/><Relationship Id="rId24" Type="http://schemas.openxmlformats.org/officeDocument/2006/relationships/slideLayout" Target="../slideLayouts/slideLayout662.xml"/><Relationship Id="rId66" Type="http://schemas.openxmlformats.org/officeDocument/2006/relationships/slideLayout" Target="../slideLayouts/slideLayout704.xml"/><Relationship Id="rId131" Type="http://schemas.openxmlformats.org/officeDocument/2006/relationships/slideLayout" Target="../slideLayouts/slideLayout769.xml"/><Relationship Id="rId327" Type="http://schemas.openxmlformats.org/officeDocument/2006/relationships/slideLayout" Target="../slideLayouts/slideLayout965.xml"/><Relationship Id="rId369" Type="http://schemas.openxmlformats.org/officeDocument/2006/relationships/slideLayout" Target="../slideLayouts/slideLayout1007.xml"/><Relationship Id="rId534" Type="http://schemas.openxmlformats.org/officeDocument/2006/relationships/slideLayout" Target="../slideLayouts/slideLayout1172.xml"/><Relationship Id="rId576" Type="http://schemas.openxmlformats.org/officeDocument/2006/relationships/slideLayout" Target="../slideLayouts/slideLayout1214.xml"/><Relationship Id="rId173" Type="http://schemas.openxmlformats.org/officeDocument/2006/relationships/slideLayout" Target="../slideLayouts/slideLayout811.xml"/><Relationship Id="rId229" Type="http://schemas.openxmlformats.org/officeDocument/2006/relationships/slideLayout" Target="../slideLayouts/slideLayout867.xml"/><Relationship Id="rId380" Type="http://schemas.openxmlformats.org/officeDocument/2006/relationships/slideLayout" Target="../slideLayouts/slideLayout1018.xml"/><Relationship Id="rId436" Type="http://schemas.openxmlformats.org/officeDocument/2006/relationships/slideLayout" Target="../slideLayouts/slideLayout1074.xml"/><Relationship Id="rId601" Type="http://schemas.openxmlformats.org/officeDocument/2006/relationships/slideLayout" Target="../slideLayouts/slideLayout1239.xml"/><Relationship Id="rId240" Type="http://schemas.openxmlformats.org/officeDocument/2006/relationships/slideLayout" Target="../slideLayouts/slideLayout878.xml"/><Relationship Id="rId478" Type="http://schemas.openxmlformats.org/officeDocument/2006/relationships/slideLayout" Target="../slideLayouts/slideLayout1116.xml"/><Relationship Id="rId35" Type="http://schemas.openxmlformats.org/officeDocument/2006/relationships/slideLayout" Target="../slideLayouts/slideLayout673.xml"/><Relationship Id="rId77" Type="http://schemas.openxmlformats.org/officeDocument/2006/relationships/slideLayout" Target="../slideLayouts/slideLayout715.xml"/><Relationship Id="rId100" Type="http://schemas.openxmlformats.org/officeDocument/2006/relationships/slideLayout" Target="../slideLayouts/slideLayout738.xml"/><Relationship Id="rId282" Type="http://schemas.openxmlformats.org/officeDocument/2006/relationships/slideLayout" Target="../slideLayouts/slideLayout920.xml"/><Relationship Id="rId338" Type="http://schemas.openxmlformats.org/officeDocument/2006/relationships/slideLayout" Target="../slideLayouts/slideLayout976.xml"/><Relationship Id="rId503" Type="http://schemas.openxmlformats.org/officeDocument/2006/relationships/slideLayout" Target="../slideLayouts/slideLayout1141.xml"/><Relationship Id="rId545" Type="http://schemas.openxmlformats.org/officeDocument/2006/relationships/slideLayout" Target="../slideLayouts/slideLayout1183.xml"/><Relationship Id="rId587" Type="http://schemas.openxmlformats.org/officeDocument/2006/relationships/slideLayout" Target="../slideLayouts/slideLayout1225.xml"/><Relationship Id="rId8" Type="http://schemas.openxmlformats.org/officeDocument/2006/relationships/slideLayout" Target="../slideLayouts/slideLayout646.xml"/><Relationship Id="rId142" Type="http://schemas.openxmlformats.org/officeDocument/2006/relationships/slideLayout" Target="../slideLayouts/slideLayout780.xml"/><Relationship Id="rId184" Type="http://schemas.openxmlformats.org/officeDocument/2006/relationships/slideLayout" Target="../slideLayouts/slideLayout822.xml"/><Relationship Id="rId391" Type="http://schemas.openxmlformats.org/officeDocument/2006/relationships/slideLayout" Target="../slideLayouts/slideLayout1029.xml"/><Relationship Id="rId405" Type="http://schemas.openxmlformats.org/officeDocument/2006/relationships/slideLayout" Target="../slideLayouts/slideLayout1043.xml"/><Relationship Id="rId447" Type="http://schemas.openxmlformats.org/officeDocument/2006/relationships/slideLayout" Target="../slideLayouts/slideLayout1085.xml"/><Relationship Id="rId612" Type="http://schemas.openxmlformats.org/officeDocument/2006/relationships/slideLayout" Target="../slideLayouts/slideLayout1250.xml"/><Relationship Id="rId251" Type="http://schemas.openxmlformats.org/officeDocument/2006/relationships/slideLayout" Target="../slideLayouts/slideLayout889.xml"/><Relationship Id="rId489" Type="http://schemas.openxmlformats.org/officeDocument/2006/relationships/slideLayout" Target="../slideLayouts/slideLayout1127.xml"/><Relationship Id="rId46" Type="http://schemas.openxmlformats.org/officeDocument/2006/relationships/slideLayout" Target="../slideLayouts/slideLayout684.xml"/><Relationship Id="rId293" Type="http://schemas.openxmlformats.org/officeDocument/2006/relationships/slideLayout" Target="../slideLayouts/slideLayout931.xml"/><Relationship Id="rId307" Type="http://schemas.openxmlformats.org/officeDocument/2006/relationships/slideLayout" Target="../slideLayouts/slideLayout945.xml"/><Relationship Id="rId349" Type="http://schemas.openxmlformats.org/officeDocument/2006/relationships/slideLayout" Target="../slideLayouts/slideLayout987.xml"/><Relationship Id="rId514" Type="http://schemas.openxmlformats.org/officeDocument/2006/relationships/slideLayout" Target="../slideLayouts/slideLayout1152.xml"/><Relationship Id="rId556" Type="http://schemas.openxmlformats.org/officeDocument/2006/relationships/slideLayout" Target="../slideLayouts/slideLayout1194.xml"/><Relationship Id="rId88" Type="http://schemas.openxmlformats.org/officeDocument/2006/relationships/slideLayout" Target="../slideLayouts/slideLayout726.xml"/><Relationship Id="rId111" Type="http://schemas.openxmlformats.org/officeDocument/2006/relationships/slideLayout" Target="../slideLayouts/slideLayout749.xml"/><Relationship Id="rId153" Type="http://schemas.openxmlformats.org/officeDocument/2006/relationships/slideLayout" Target="../slideLayouts/slideLayout791.xml"/><Relationship Id="rId195" Type="http://schemas.openxmlformats.org/officeDocument/2006/relationships/slideLayout" Target="../slideLayouts/slideLayout833.xml"/><Relationship Id="rId209" Type="http://schemas.openxmlformats.org/officeDocument/2006/relationships/slideLayout" Target="../slideLayouts/slideLayout847.xml"/><Relationship Id="rId360" Type="http://schemas.openxmlformats.org/officeDocument/2006/relationships/slideLayout" Target="../slideLayouts/slideLayout998.xml"/><Relationship Id="rId416" Type="http://schemas.openxmlformats.org/officeDocument/2006/relationships/slideLayout" Target="../slideLayouts/slideLayout1054.xml"/><Relationship Id="rId598" Type="http://schemas.openxmlformats.org/officeDocument/2006/relationships/slideLayout" Target="../slideLayouts/slideLayout1236.xml"/><Relationship Id="rId220" Type="http://schemas.openxmlformats.org/officeDocument/2006/relationships/slideLayout" Target="../slideLayouts/slideLayout858.xml"/><Relationship Id="rId458" Type="http://schemas.openxmlformats.org/officeDocument/2006/relationships/slideLayout" Target="../slideLayouts/slideLayout1096.xml"/><Relationship Id="rId623" Type="http://schemas.openxmlformats.org/officeDocument/2006/relationships/slideLayout" Target="../slideLayouts/slideLayout1261.xml"/><Relationship Id="rId15" Type="http://schemas.openxmlformats.org/officeDocument/2006/relationships/slideLayout" Target="../slideLayouts/slideLayout653.xml"/><Relationship Id="rId57" Type="http://schemas.openxmlformats.org/officeDocument/2006/relationships/slideLayout" Target="../slideLayouts/slideLayout695.xml"/><Relationship Id="rId262" Type="http://schemas.openxmlformats.org/officeDocument/2006/relationships/slideLayout" Target="../slideLayouts/slideLayout900.xml"/><Relationship Id="rId318" Type="http://schemas.openxmlformats.org/officeDocument/2006/relationships/slideLayout" Target="../slideLayouts/slideLayout956.xml"/><Relationship Id="rId525" Type="http://schemas.openxmlformats.org/officeDocument/2006/relationships/slideLayout" Target="../slideLayouts/slideLayout1163.xml"/><Relationship Id="rId567" Type="http://schemas.openxmlformats.org/officeDocument/2006/relationships/slideLayout" Target="../slideLayouts/slideLayout1205.xml"/><Relationship Id="rId99" Type="http://schemas.openxmlformats.org/officeDocument/2006/relationships/slideLayout" Target="../slideLayouts/slideLayout737.xml"/><Relationship Id="rId122" Type="http://schemas.openxmlformats.org/officeDocument/2006/relationships/slideLayout" Target="../slideLayouts/slideLayout760.xml"/><Relationship Id="rId164" Type="http://schemas.openxmlformats.org/officeDocument/2006/relationships/slideLayout" Target="../slideLayouts/slideLayout802.xml"/><Relationship Id="rId371" Type="http://schemas.openxmlformats.org/officeDocument/2006/relationships/slideLayout" Target="../slideLayouts/slideLayout1009.xml"/><Relationship Id="rId427" Type="http://schemas.openxmlformats.org/officeDocument/2006/relationships/slideLayout" Target="../slideLayouts/slideLayout1065.xml"/><Relationship Id="rId469" Type="http://schemas.openxmlformats.org/officeDocument/2006/relationships/slideLayout" Target="../slideLayouts/slideLayout1107.xml"/><Relationship Id="rId634" Type="http://schemas.openxmlformats.org/officeDocument/2006/relationships/slideLayout" Target="../slideLayouts/slideLayout1272.xml"/><Relationship Id="rId26" Type="http://schemas.openxmlformats.org/officeDocument/2006/relationships/slideLayout" Target="../slideLayouts/slideLayout664.xml"/><Relationship Id="rId231" Type="http://schemas.openxmlformats.org/officeDocument/2006/relationships/slideLayout" Target="../slideLayouts/slideLayout869.xml"/><Relationship Id="rId273" Type="http://schemas.openxmlformats.org/officeDocument/2006/relationships/slideLayout" Target="../slideLayouts/slideLayout911.xml"/><Relationship Id="rId329" Type="http://schemas.openxmlformats.org/officeDocument/2006/relationships/slideLayout" Target="../slideLayouts/slideLayout967.xml"/><Relationship Id="rId480" Type="http://schemas.openxmlformats.org/officeDocument/2006/relationships/slideLayout" Target="../slideLayouts/slideLayout1118.xml"/><Relationship Id="rId536" Type="http://schemas.openxmlformats.org/officeDocument/2006/relationships/slideLayout" Target="../slideLayouts/slideLayout1174.xml"/><Relationship Id="rId68" Type="http://schemas.openxmlformats.org/officeDocument/2006/relationships/slideLayout" Target="../slideLayouts/slideLayout706.xml"/><Relationship Id="rId133" Type="http://schemas.openxmlformats.org/officeDocument/2006/relationships/slideLayout" Target="../slideLayouts/slideLayout771.xml"/><Relationship Id="rId175" Type="http://schemas.openxmlformats.org/officeDocument/2006/relationships/slideLayout" Target="../slideLayouts/slideLayout813.xml"/><Relationship Id="rId340" Type="http://schemas.openxmlformats.org/officeDocument/2006/relationships/slideLayout" Target="../slideLayouts/slideLayout978.xml"/><Relationship Id="rId578" Type="http://schemas.openxmlformats.org/officeDocument/2006/relationships/slideLayout" Target="../slideLayouts/slideLayout1216.xml"/><Relationship Id="rId200" Type="http://schemas.openxmlformats.org/officeDocument/2006/relationships/slideLayout" Target="../slideLayouts/slideLayout838.xml"/><Relationship Id="rId382" Type="http://schemas.openxmlformats.org/officeDocument/2006/relationships/slideLayout" Target="../slideLayouts/slideLayout1020.xml"/><Relationship Id="rId438" Type="http://schemas.openxmlformats.org/officeDocument/2006/relationships/slideLayout" Target="../slideLayouts/slideLayout1076.xml"/><Relationship Id="rId603" Type="http://schemas.openxmlformats.org/officeDocument/2006/relationships/slideLayout" Target="../slideLayouts/slideLayout1241.xml"/><Relationship Id="rId242" Type="http://schemas.openxmlformats.org/officeDocument/2006/relationships/slideLayout" Target="../slideLayouts/slideLayout880.xml"/><Relationship Id="rId284" Type="http://schemas.openxmlformats.org/officeDocument/2006/relationships/slideLayout" Target="../slideLayouts/slideLayout922.xml"/><Relationship Id="rId491" Type="http://schemas.openxmlformats.org/officeDocument/2006/relationships/slideLayout" Target="../slideLayouts/slideLayout1129.xml"/><Relationship Id="rId505" Type="http://schemas.openxmlformats.org/officeDocument/2006/relationships/slideLayout" Target="../slideLayouts/slideLayout1143.xml"/><Relationship Id="rId37" Type="http://schemas.openxmlformats.org/officeDocument/2006/relationships/slideLayout" Target="../slideLayouts/slideLayout675.xml"/><Relationship Id="rId79" Type="http://schemas.openxmlformats.org/officeDocument/2006/relationships/slideLayout" Target="../slideLayouts/slideLayout717.xml"/><Relationship Id="rId102" Type="http://schemas.openxmlformats.org/officeDocument/2006/relationships/slideLayout" Target="../slideLayouts/slideLayout740.xml"/><Relationship Id="rId144" Type="http://schemas.openxmlformats.org/officeDocument/2006/relationships/slideLayout" Target="../slideLayouts/slideLayout782.xml"/><Relationship Id="rId547" Type="http://schemas.openxmlformats.org/officeDocument/2006/relationships/slideLayout" Target="../slideLayouts/slideLayout1185.xml"/><Relationship Id="rId589" Type="http://schemas.openxmlformats.org/officeDocument/2006/relationships/slideLayout" Target="../slideLayouts/slideLayout1227.xml"/><Relationship Id="rId90" Type="http://schemas.openxmlformats.org/officeDocument/2006/relationships/slideLayout" Target="../slideLayouts/slideLayout728.xml"/><Relationship Id="rId186" Type="http://schemas.openxmlformats.org/officeDocument/2006/relationships/slideLayout" Target="../slideLayouts/slideLayout824.xml"/><Relationship Id="rId351" Type="http://schemas.openxmlformats.org/officeDocument/2006/relationships/slideLayout" Target="../slideLayouts/slideLayout989.xml"/><Relationship Id="rId393" Type="http://schemas.openxmlformats.org/officeDocument/2006/relationships/slideLayout" Target="../slideLayouts/slideLayout1031.xml"/><Relationship Id="rId407" Type="http://schemas.openxmlformats.org/officeDocument/2006/relationships/slideLayout" Target="../slideLayouts/slideLayout1045.xml"/><Relationship Id="rId449" Type="http://schemas.openxmlformats.org/officeDocument/2006/relationships/slideLayout" Target="../slideLayouts/slideLayout1087.xml"/><Relationship Id="rId614" Type="http://schemas.openxmlformats.org/officeDocument/2006/relationships/slideLayout" Target="../slideLayouts/slideLayout1252.xml"/><Relationship Id="rId211" Type="http://schemas.openxmlformats.org/officeDocument/2006/relationships/slideLayout" Target="../slideLayouts/slideLayout849.xml"/><Relationship Id="rId253" Type="http://schemas.openxmlformats.org/officeDocument/2006/relationships/slideLayout" Target="../slideLayouts/slideLayout891.xml"/><Relationship Id="rId295" Type="http://schemas.openxmlformats.org/officeDocument/2006/relationships/slideLayout" Target="../slideLayouts/slideLayout933.xml"/><Relationship Id="rId309" Type="http://schemas.openxmlformats.org/officeDocument/2006/relationships/slideLayout" Target="../slideLayouts/slideLayout947.xml"/><Relationship Id="rId460" Type="http://schemas.openxmlformats.org/officeDocument/2006/relationships/slideLayout" Target="../slideLayouts/slideLayout1098.xml"/><Relationship Id="rId516" Type="http://schemas.openxmlformats.org/officeDocument/2006/relationships/slideLayout" Target="../slideLayouts/slideLayout1154.xml"/><Relationship Id="rId48" Type="http://schemas.openxmlformats.org/officeDocument/2006/relationships/slideLayout" Target="../slideLayouts/slideLayout686.xml"/><Relationship Id="rId113" Type="http://schemas.openxmlformats.org/officeDocument/2006/relationships/slideLayout" Target="../slideLayouts/slideLayout751.xml"/><Relationship Id="rId320" Type="http://schemas.openxmlformats.org/officeDocument/2006/relationships/slideLayout" Target="../slideLayouts/slideLayout958.xml"/><Relationship Id="rId558" Type="http://schemas.openxmlformats.org/officeDocument/2006/relationships/slideLayout" Target="../slideLayouts/slideLayout1196.xml"/><Relationship Id="rId155" Type="http://schemas.openxmlformats.org/officeDocument/2006/relationships/slideLayout" Target="../slideLayouts/slideLayout793.xml"/><Relationship Id="rId197" Type="http://schemas.openxmlformats.org/officeDocument/2006/relationships/slideLayout" Target="../slideLayouts/slideLayout835.xml"/><Relationship Id="rId362" Type="http://schemas.openxmlformats.org/officeDocument/2006/relationships/slideLayout" Target="../slideLayouts/slideLayout1000.xml"/><Relationship Id="rId418" Type="http://schemas.openxmlformats.org/officeDocument/2006/relationships/slideLayout" Target="../slideLayouts/slideLayout1056.xml"/><Relationship Id="rId625" Type="http://schemas.openxmlformats.org/officeDocument/2006/relationships/slideLayout" Target="../slideLayouts/slideLayout1263.xml"/><Relationship Id="rId222" Type="http://schemas.openxmlformats.org/officeDocument/2006/relationships/slideLayout" Target="../slideLayouts/slideLayout860.xml"/><Relationship Id="rId264" Type="http://schemas.openxmlformats.org/officeDocument/2006/relationships/slideLayout" Target="../slideLayouts/slideLayout902.xml"/><Relationship Id="rId471" Type="http://schemas.openxmlformats.org/officeDocument/2006/relationships/slideLayout" Target="../slideLayouts/slideLayout1109.xml"/><Relationship Id="rId17" Type="http://schemas.openxmlformats.org/officeDocument/2006/relationships/slideLayout" Target="../slideLayouts/slideLayout655.xml"/><Relationship Id="rId59" Type="http://schemas.openxmlformats.org/officeDocument/2006/relationships/slideLayout" Target="../slideLayouts/slideLayout697.xml"/><Relationship Id="rId124" Type="http://schemas.openxmlformats.org/officeDocument/2006/relationships/slideLayout" Target="../slideLayouts/slideLayout762.xml"/><Relationship Id="rId527" Type="http://schemas.openxmlformats.org/officeDocument/2006/relationships/slideLayout" Target="../slideLayouts/slideLayout1165.xml"/><Relationship Id="rId569" Type="http://schemas.openxmlformats.org/officeDocument/2006/relationships/slideLayout" Target="../slideLayouts/slideLayout1207.xml"/><Relationship Id="rId70" Type="http://schemas.openxmlformats.org/officeDocument/2006/relationships/slideLayout" Target="../slideLayouts/slideLayout708.xml"/><Relationship Id="rId166" Type="http://schemas.openxmlformats.org/officeDocument/2006/relationships/slideLayout" Target="../slideLayouts/slideLayout804.xml"/><Relationship Id="rId331" Type="http://schemas.openxmlformats.org/officeDocument/2006/relationships/slideLayout" Target="../slideLayouts/slideLayout969.xml"/><Relationship Id="rId373" Type="http://schemas.openxmlformats.org/officeDocument/2006/relationships/slideLayout" Target="../slideLayouts/slideLayout1011.xml"/><Relationship Id="rId429" Type="http://schemas.openxmlformats.org/officeDocument/2006/relationships/slideLayout" Target="../slideLayouts/slideLayout1067.xml"/><Relationship Id="rId580" Type="http://schemas.openxmlformats.org/officeDocument/2006/relationships/slideLayout" Target="../slideLayouts/slideLayout1218.xml"/><Relationship Id="rId636" Type="http://schemas.openxmlformats.org/officeDocument/2006/relationships/slideLayout" Target="../slideLayouts/slideLayout1274.xml"/><Relationship Id="rId1" Type="http://schemas.openxmlformats.org/officeDocument/2006/relationships/slideLayout" Target="../slideLayouts/slideLayout639.xml"/><Relationship Id="rId233" Type="http://schemas.openxmlformats.org/officeDocument/2006/relationships/slideLayout" Target="../slideLayouts/slideLayout871.xml"/><Relationship Id="rId440" Type="http://schemas.openxmlformats.org/officeDocument/2006/relationships/slideLayout" Target="../slideLayouts/slideLayout1078.xml"/><Relationship Id="rId28" Type="http://schemas.openxmlformats.org/officeDocument/2006/relationships/slideLayout" Target="../slideLayouts/slideLayout666.xml"/><Relationship Id="rId275" Type="http://schemas.openxmlformats.org/officeDocument/2006/relationships/slideLayout" Target="../slideLayouts/slideLayout913.xml"/><Relationship Id="rId300" Type="http://schemas.openxmlformats.org/officeDocument/2006/relationships/slideLayout" Target="../slideLayouts/slideLayout938.xml"/><Relationship Id="rId482" Type="http://schemas.openxmlformats.org/officeDocument/2006/relationships/slideLayout" Target="../slideLayouts/slideLayout1120.xml"/><Relationship Id="rId538" Type="http://schemas.openxmlformats.org/officeDocument/2006/relationships/slideLayout" Target="../slideLayouts/slideLayout1176.xml"/><Relationship Id="rId81" Type="http://schemas.openxmlformats.org/officeDocument/2006/relationships/slideLayout" Target="../slideLayouts/slideLayout719.xml"/><Relationship Id="rId135" Type="http://schemas.openxmlformats.org/officeDocument/2006/relationships/slideLayout" Target="../slideLayouts/slideLayout773.xml"/><Relationship Id="rId177" Type="http://schemas.openxmlformats.org/officeDocument/2006/relationships/slideLayout" Target="../slideLayouts/slideLayout815.xml"/><Relationship Id="rId342" Type="http://schemas.openxmlformats.org/officeDocument/2006/relationships/slideLayout" Target="../slideLayouts/slideLayout980.xml"/><Relationship Id="rId384" Type="http://schemas.openxmlformats.org/officeDocument/2006/relationships/slideLayout" Target="../slideLayouts/slideLayout1022.xml"/><Relationship Id="rId591" Type="http://schemas.openxmlformats.org/officeDocument/2006/relationships/slideLayout" Target="../slideLayouts/slideLayout1229.xml"/><Relationship Id="rId605" Type="http://schemas.openxmlformats.org/officeDocument/2006/relationships/slideLayout" Target="../slideLayouts/slideLayout1243.xml"/><Relationship Id="rId202" Type="http://schemas.openxmlformats.org/officeDocument/2006/relationships/slideLayout" Target="../slideLayouts/slideLayout840.xml"/><Relationship Id="rId244" Type="http://schemas.openxmlformats.org/officeDocument/2006/relationships/slideLayout" Target="../slideLayouts/slideLayout882.xml"/><Relationship Id="rId39" Type="http://schemas.openxmlformats.org/officeDocument/2006/relationships/slideLayout" Target="../slideLayouts/slideLayout677.xml"/><Relationship Id="rId286" Type="http://schemas.openxmlformats.org/officeDocument/2006/relationships/slideLayout" Target="../slideLayouts/slideLayout924.xml"/><Relationship Id="rId451" Type="http://schemas.openxmlformats.org/officeDocument/2006/relationships/slideLayout" Target="../slideLayouts/slideLayout1089.xml"/><Relationship Id="rId493" Type="http://schemas.openxmlformats.org/officeDocument/2006/relationships/slideLayout" Target="../slideLayouts/slideLayout1131.xml"/><Relationship Id="rId507" Type="http://schemas.openxmlformats.org/officeDocument/2006/relationships/slideLayout" Target="../slideLayouts/slideLayout1145.xml"/><Relationship Id="rId549" Type="http://schemas.openxmlformats.org/officeDocument/2006/relationships/slideLayout" Target="../slideLayouts/slideLayout1187.xml"/><Relationship Id="rId50" Type="http://schemas.openxmlformats.org/officeDocument/2006/relationships/slideLayout" Target="../slideLayouts/slideLayout688.xml"/><Relationship Id="rId104" Type="http://schemas.openxmlformats.org/officeDocument/2006/relationships/slideLayout" Target="../slideLayouts/slideLayout742.xml"/><Relationship Id="rId146" Type="http://schemas.openxmlformats.org/officeDocument/2006/relationships/slideLayout" Target="../slideLayouts/slideLayout784.xml"/><Relationship Id="rId188" Type="http://schemas.openxmlformats.org/officeDocument/2006/relationships/slideLayout" Target="../slideLayouts/slideLayout826.xml"/><Relationship Id="rId311" Type="http://schemas.openxmlformats.org/officeDocument/2006/relationships/slideLayout" Target="../slideLayouts/slideLayout949.xml"/><Relationship Id="rId353" Type="http://schemas.openxmlformats.org/officeDocument/2006/relationships/slideLayout" Target="../slideLayouts/slideLayout991.xml"/><Relationship Id="rId395" Type="http://schemas.openxmlformats.org/officeDocument/2006/relationships/slideLayout" Target="../slideLayouts/slideLayout1033.xml"/><Relationship Id="rId409" Type="http://schemas.openxmlformats.org/officeDocument/2006/relationships/slideLayout" Target="../slideLayouts/slideLayout1047.xml"/><Relationship Id="rId560" Type="http://schemas.openxmlformats.org/officeDocument/2006/relationships/slideLayout" Target="../slideLayouts/slideLayout1198.xml"/><Relationship Id="rId92" Type="http://schemas.openxmlformats.org/officeDocument/2006/relationships/slideLayout" Target="../slideLayouts/slideLayout730.xml"/><Relationship Id="rId213" Type="http://schemas.openxmlformats.org/officeDocument/2006/relationships/slideLayout" Target="../slideLayouts/slideLayout851.xml"/><Relationship Id="rId420" Type="http://schemas.openxmlformats.org/officeDocument/2006/relationships/slideLayout" Target="../slideLayouts/slideLayout1058.xml"/><Relationship Id="rId616" Type="http://schemas.openxmlformats.org/officeDocument/2006/relationships/slideLayout" Target="../slideLayouts/slideLayout1254.xml"/><Relationship Id="rId255" Type="http://schemas.openxmlformats.org/officeDocument/2006/relationships/slideLayout" Target="../slideLayouts/slideLayout893.xml"/><Relationship Id="rId297" Type="http://schemas.openxmlformats.org/officeDocument/2006/relationships/slideLayout" Target="../slideLayouts/slideLayout935.xml"/><Relationship Id="rId462" Type="http://schemas.openxmlformats.org/officeDocument/2006/relationships/slideLayout" Target="../slideLayouts/slideLayout1100.xml"/><Relationship Id="rId518" Type="http://schemas.openxmlformats.org/officeDocument/2006/relationships/slideLayout" Target="../slideLayouts/slideLayout1156.xml"/><Relationship Id="rId115" Type="http://schemas.openxmlformats.org/officeDocument/2006/relationships/slideLayout" Target="../slideLayouts/slideLayout753.xml"/><Relationship Id="rId157" Type="http://schemas.openxmlformats.org/officeDocument/2006/relationships/slideLayout" Target="../slideLayouts/slideLayout795.xml"/><Relationship Id="rId322" Type="http://schemas.openxmlformats.org/officeDocument/2006/relationships/slideLayout" Target="../slideLayouts/slideLayout960.xml"/><Relationship Id="rId364" Type="http://schemas.openxmlformats.org/officeDocument/2006/relationships/slideLayout" Target="../slideLayouts/slideLayout1002.xml"/><Relationship Id="rId61" Type="http://schemas.openxmlformats.org/officeDocument/2006/relationships/slideLayout" Target="../slideLayouts/slideLayout699.xml"/><Relationship Id="rId199" Type="http://schemas.openxmlformats.org/officeDocument/2006/relationships/slideLayout" Target="../slideLayouts/slideLayout837.xml"/><Relationship Id="rId571" Type="http://schemas.openxmlformats.org/officeDocument/2006/relationships/slideLayout" Target="../slideLayouts/slideLayout1209.xml"/><Relationship Id="rId627" Type="http://schemas.openxmlformats.org/officeDocument/2006/relationships/slideLayout" Target="../slideLayouts/slideLayout1265.xml"/><Relationship Id="rId19" Type="http://schemas.openxmlformats.org/officeDocument/2006/relationships/slideLayout" Target="../slideLayouts/slideLayout657.xml"/><Relationship Id="rId224" Type="http://schemas.openxmlformats.org/officeDocument/2006/relationships/slideLayout" Target="../slideLayouts/slideLayout862.xml"/><Relationship Id="rId266" Type="http://schemas.openxmlformats.org/officeDocument/2006/relationships/slideLayout" Target="../slideLayouts/slideLayout904.xml"/><Relationship Id="rId431" Type="http://schemas.openxmlformats.org/officeDocument/2006/relationships/slideLayout" Target="../slideLayouts/slideLayout1069.xml"/><Relationship Id="rId473" Type="http://schemas.openxmlformats.org/officeDocument/2006/relationships/slideLayout" Target="../slideLayouts/slideLayout1111.xml"/><Relationship Id="rId529" Type="http://schemas.openxmlformats.org/officeDocument/2006/relationships/slideLayout" Target="../slideLayouts/slideLayout1167.xml"/><Relationship Id="rId30" Type="http://schemas.openxmlformats.org/officeDocument/2006/relationships/slideLayout" Target="../slideLayouts/slideLayout668.xml"/><Relationship Id="rId126" Type="http://schemas.openxmlformats.org/officeDocument/2006/relationships/slideLayout" Target="../slideLayouts/slideLayout764.xml"/><Relationship Id="rId168" Type="http://schemas.openxmlformats.org/officeDocument/2006/relationships/slideLayout" Target="../slideLayouts/slideLayout806.xml"/><Relationship Id="rId333" Type="http://schemas.openxmlformats.org/officeDocument/2006/relationships/slideLayout" Target="../slideLayouts/slideLayout971.xml"/><Relationship Id="rId540" Type="http://schemas.openxmlformats.org/officeDocument/2006/relationships/slideLayout" Target="../slideLayouts/slideLayout1178.xml"/><Relationship Id="rId72" Type="http://schemas.openxmlformats.org/officeDocument/2006/relationships/slideLayout" Target="../slideLayouts/slideLayout710.xml"/><Relationship Id="rId375" Type="http://schemas.openxmlformats.org/officeDocument/2006/relationships/slideLayout" Target="../slideLayouts/slideLayout1013.xml"/><Relationship Id="rId582" Type="http://schemas.openxmlformats.org/officeDocument/2006/relationships/slideLayout" Target="../slideLayouts/slideLayout1220.xml"/><Relationship Id="rId638" Type="http://schemas.openxmlformats.org/officeDocument/2006/relationships/slideLayout" Target="../slideLayouts/slideLayout1276.xml"/><Relationship Id="rId3" Type="http://schemas.openxmlformats.org/officeDocument/2006/relationships/slideLayout" Target="../slideLayouts/slideLayout641.xml"/><Relationship Id="rId235" Type="http://schemas.openxmlformats.org/officeDocument/2006/relationships/slideLayout" Target="../slideLayouts/slideLayout873.xml"/><Relationship Id="rId277" Type="http://schemas.openxmlformats.org/officeDocument/2006/relationships/slideLayout" Target="../slideLayouts/slideLayout915.xml"/><Relationship Id="rId400" Type="http://schemas.openxmlformats.org/officeDocument/2006/relationships/slideLayout" Target="../slideLayouts/slideLayout1038.xml"/><Relationship Id="rId442" Type="http://schemas.openxmlformats.org/officeDocument/2006/relationships/slideLayout" Target="../slideLayouts/slideLayout1080.xml"/><Relationship Id="rId484" Type="http://schemas.openxmlformats.org/officeDocument/2006/relationships/slideLayout" Target="../slideLayouts/slideLayout1122.xml"/><Relationship Id="rId137" Type="http://schemas.openxmlformats.org/officeDocument/2006/relationships/slideLayout" Target="../slideLayouts/slideLayout775.xml"/><Relationship Id="rId302" Type="http://schemas.openxmlformats.org/officeDocument/2006/relationships/slideLayout" Target="../slideLayouts/slideLayout940.xml"/><Relationship Id="rId344" Type="http://schemas.openxmlformats.org/officeDocument/2006/relationships/slideLayout" Target="../slideLayouts/slideLayout982.xml"/><Relationship Id="rId41" Type="http://schemas.openxmlformats.org/officeDocument/2006/relationships/slideLayout" Target="../slideLayouts/slideLayout679.xml"/><Relationship Id="rId83" Type="http://schemas.openxmlformats.org/officeDocument/2006/relationships/slideLayout" Target="../slideLayouts/slideLayout721.xml"/><Relationship Id="rId179" Type="http://schemas.openxmlformats.org/officeDocument/2006/relationships/slideLayout" Target="../slideLayouts/slideLayout817.xml"/><Relationship Id="rId386" Type="http://schemas.openxmlformats.org/officeDocument/2006/relationships/slideLayout" Target="../slideLayouts/slideLayout1024.xml"/><Relationship Id="rId551" Type="http://schemas.openxmlformats.org/officeDocument/2006/relationships/slideLayout" Target="../slideLayouts/slideLayout1189.xml"/><Relationship Id="rId593" Type="http://schemas.openxmlformats.org/officeDocument/2006/relationships/slideLayout" Target="../slideLayouts/slideLayout1231.xml"/><Relationship Id="rId607" Type="http://schemas.openxmlformats.org/officeDocument/2006/relationships/slideLayout" Target="../slideLayouts/slideLayout1245.xml"/><Relationship Id="rId190" Type="http://schemas.openxmlformats.org/officeDocument/2006/relationships/slideLayout" Target="../slideLayouts/slideLayout828.xml"/><Relationship Id="rId204" Type="http://schemas.openxmlformats.org/officeDocument/2006/relationships/slideLayout" Target="../slideLayouts/slideLayout842.xml"/><Relationship Id="rId246" Type="http://schemas.openxmlformats.org/officeDocument/2006/relationships/slideLayout" Target="../slideLayouts/slideLayout884.xml"/><Relationship Id="rId288" Type="http://schemas.openxmlformats.org/officeDocument/2006/relationships/slideLayout" Target="../slideLayouts/slideLayout926.xml"/><Relationship Id="rId411" Type="http://schemas.openxmlformats.org/officeDocument/2006/relationships/slideLayout" Target="../slideLayouts/slideLayout1049.xml"/><Relationship Id="rId453" Type="http://schemas.openxmlformats.org/officeDocument/2006/relationships/slideLayout" Target="../slideLayouts/slideLayout1091.xml"/><Relationship Id="rId509" Type="http://schemas.openxmlformats.org/officeDocument/2006/relationships/slideLayout" Target="../slideLayouts/slideLayout1147.xml"/><Relationship Id="rId106" Type="http://schemas.openxmlformats.org/officeDocument/2006/relationships/slideLayout" Target="../slideLayouts/slideLayout744.xml"/><Relationship Id="rId313" Type="http://schemas.openxmlformats.org/officeDocument/2006/relationships/slideLayout" Target="../slideLayouts/slideLayout951.xml"/><Relationship Id="rId495" Type="http://schemas.openxmlformats.org/officeDocument/2006/relationships/slideLayout" Target="../slideLayouts/slideLayout1133.xml"/><Relationship Id="rId10" Type="http://schemas.openxmlformats.org/officeDocument/2006/relationships/slideLayout" Target="../slideLayouts/slideLayout648.xml"/><Relationship Id="rId52" Type="http://schemas.openxmlformats.org/officeDocument/2006/relationships/slideLayout" Target="../slideLayouts/slideLayout690.xml"/><Relationship Id="rId94" Type="http://schemas.openxmlformats.org/officeDocument/2006/relationships/slideLayout" Target="../slideLayouts/slideLayout732.xml"/><Relationship Id="rId148" Type="http://schemas.openxmlformats.org/officeDocument/2006/relationships/slideLayout" Target="../slideLayouts/slideLayout786.xml"/><Relationship Id="rId355" Type="http://schemas.openxmlformats.org/officeDocument/2006/relationships/slideLayout" Target="../slideLayouts/slideLayout993.xml"/><Relationship Id="rId397" Type="http://schemas.openxmlformats.org/officeDocument/2006/relationships/slideLayout" Target="../slideLayouts/slideLayout1035.xml"/><Relationship Id="rId520" Type="http://schemas.openxmlformats.org/officeDocument/2006/relationships/slideLayout" Target="../slideLayouts/slideLayout1158.xml"/><Relationship Id="rId562" Type="http://schemas.openxmlformats.org/officeDocument/2006/relationships/slideLayout" Target="../slideLayouts/slideLayout1200.xml"/><Relationship Id="rId618" Type="http://schemas.openxmlformats.org/officeDocument/2006/relationships/slideLayout" Target="../slideLayouts/slideLayout1256.xml"/><Relationship Id="rId215" Type="http://schemas.openxmlformats.org/officeDocument/2006/relationships/slideLayout" Target="../slideLayouts/slideLayout853.xml"/><Relationship Id="rId257" Type="http://schemas.openxmlformats.org/officeDocument/2006/relationships/slideLayout" Target="../slideLayouts/slideLayout895.xml"/><Relationship Id="rId422" Type="http://schemas.openxmlformats.org/officeDocument/2006/relationships/slideLayout" Target="../slideLayouts/slideLayout1060.xml"/><Relationship Id="rId464" Type="http://schemas.openxmlformats.org/officeDocument/2006/relationships/slideLayout" Target="../slideLayouts/slideLayout1102.xml"/><Relationship Id="rId299" Type="http://schemas.openxmlformats.org/officeDocument/2006/relationships/slideLayout" Target="../slideLayouts/slideLayout937.xml"/><Relationship Id="rId63" Type="http://schemas.openxmlformats.org/officeDocument/2006/relationships/slideLayout" Target="../slideLayouts/slideLayout701.xml"/><Relationship Id="rId159" Type="http://schemas.openxmlformats.org/officeDocument/2006/relationships/slideLayout" Target="../slideLayouts/slideLayout797.xml"/><Relationship Id="rId366" Type="http://schemas.openxmlformats.org/officeDocument/2006/relationships/slideLayout" Target="../slideLayouts/slideLayout1004.xml"/><Relationship Id="rId573" Type="http://schemas.openxmlformats.org/officeDocument/2006/relationships/slideLayout" Target="../slideLayouts/slideLayout1211.xml"/><Relationship Id="rId226" Type="http://schemas.openxmlformats.org/officeDocument/2006/relationships/slideLayout" Target="../slideLayouts/slideLayout864.xml"/><Relationship Id="rId433" Type="http://schemas.openxmlformats.org/officeDocument/2006/relationships/slideLayout" Target="../slideLayouts/slideLayout1071.xml"/><Relationship Id="rId640" Type="http://schemas.openxmlformats.org/officeDocument/2006/relationships/theme" Target="../theme/theme2.xml"/><Relationship Id="rId74" Type="http://schemas.openxmlformats.org/officeDocument/2006/relationships/slideLayout" Target="../slideLayouts/slideLayout712.xml"/><Relationship Id="rId377" Type="http://schemas.openxmlformats.org/officeDocument/2006/relationships/slideLayout" Target="../slideLayouts/slideLayout1015.xml"/><Relationship Id="rId500" Type="http://schemas.openxmlformats.org/officeDocument/2006/relationships/slideLayout" Target="../slideLayouts/slideLayout1138.xml"/><Relationship Id="rId584" Type="http://schemas.openxmlformats.org/officeDocument/2006/relationships/slideLayout" Target="../slideLayouts/slideLayout1222.xml"/><Relationship Id="rId5" Type="http://schemas.openxmlformats.org/officeDocument/2006/relationships/slideLayout" Target="../slideLayouts/slideLayout643.xml"/><Relationship Id="rId237" Type="http://schemas.openxmlformats.org/officeDocument/2006/relationships/slideLayout" Target="../slideLayouts/slideLayout875.xml"/><Relationship Id="rId444" Type="http://schemas.openxmlformats.org/officeDocument/2006/relationships/slideLayout" Target="../slideLayouts/slideLayout1082.xml"/><Relationship Id="rId290" Type="http://schemas.openxmlformats.org/officeDocument/2006/relationships/slideLayout" Target="../slideLayouts/slideLayout928.xml"/><Relationship Id="rId304" Type="http://schemas.openxmlformats.org/officeDocument/2006/relationships/slideLayout" Target="../slideLayouts/slideLayout942.xml"/><Relationship Id="rId388" Type="http://schemas.openxmlformats.org/officeDocument/2006/relationships/slideLayout" Target="../slideLayouts/slideLayout1026.xml"/><Relationship Id="rId511" Type="http://schemas.openxmlformats.org/officeDocument/2006/relationships/slideLayout" Target="../slideLayouts/slideLayout1149.xml"/><Relationship Id="rId609" Type="http://schemas.openxmlformats.org/officeDocument/2006/relationships/slideLayout" Target="../slideLayouts/slideLayout1247.xml"/><Relationship Id="rId85" Type="http://schemas.openxmlformats.org/officeDocument/2006/relationships/slideLayout" Target="../slideLayouts/slideLayout723.xml"/><Relationship Id="rId150" Type="http://schemas.openxmlformats.org/officeDocument/2006/relationships/slideLayout" Target="../slideLayouts/slideLayout788.xml"/><Relationship Id="rId595" Type="http://schemas.openxmlformats.org/officeDocument/2006/relationships/slideLayout" Target="../slideLayouts/slideLayout1233.xml"/><Relationship Id="rId248" Type="http://schemas.openxmlformats.org/officeDocument/2006/relationships/slideLayout" Target="../slideLayouts/slideLayout886.xml"/><Relationship Id="rId455" Type="http://schemas.openxmlformats.org/officeDocument/2006/relationships/slideLayout" Target="../slideLayouts/slideLayout1093.xml"/><Relationship Id="rId12" Type="http://schemas.openxmlformats.org/officeDocument/2006/relationships/slideLayout" Target="../slideLayouts/slideLayout650.xml"/><Relationship Id="rId108" Type="http://schemas.openxmlformats.org/officeDocument/2006/relationships/slideLayout" Target="../slideLayouts/slideLayout746.xml"/><Relationship Id="rId315" Type="http://schemas.openxmlformats.org/officeDocument/2006/relationships/slideLayout" Target="../slideLayouts/slideLayout953.xml"/><Relationship Id="rId522" Type="http://schemas.openxmlformats.org/officeDocument/2006/relationships/slideLayout" Target="../slideLayouts/slideLayout1160.xml"/><Relationship Id="rId96" Type="http://schemas.openxmlformats.org/officeDocument/2006/relationships/slideLayout" Target="../slideLayouts/slideLayout734.xml"/><Relationship Id="rId161" Type="http://schemas.openxmlformats.org/officeDocument/2006/relationships/slideLayout" Target="../slideLayouts/slideLayout799.xml"/><Relationship Id="rId399" Type="http://schemas.openxmlformats.org/officeDocument/2006/relationships/slideLayout" Target="../slideLayouts/slideLayout1037.xml"/><Relationship Id="rId259" Type="http://schemas.openxmlformats.org/officeDocument/2006/relationships/slideLayout" Target="../slideLayouts/slideLayout897.xml"/><Relationship Id="rId466" Type="http://schemas.openxmlformats.org/officeDocument/2006/relationships/slideLayout" Target="../slideLayouts/slideLayout1104.xml"/><Relationship Id="rId23" Type="http://schemas.openxmlformats.org/officeDocument/2006/relationships/slideLayout" Target="../slideLayouts/slideLayout661.xml"/><Relationship Id="rId119" Type="http://schemas.openxmlformats.org/officeDocument/2006/relationships/slideLayout" Target="../slideLayouts/slideLayout757.xml"/><Relationship Id="rId326" Type="http://schemas.openxmlformats.org/officeDocument/2006/relationships/slideLayout" Target="../slideLayouts/slideLayout964.xml"/><Relationship Id="rId533" Type="http://schemas.openxmlformats.org/officeDocument/2006/relationships/slideLayout" Target="../slideLayouts/slideLayout1171.xml"/><Relationship Id="rId172" Type="http://schemas.openxmlformats.org/officeDocument/2006/relationships/slideLayout" Target="../slideLayouts/slideLayout810.xml"/><Relationship Id="rId477" Type="http://schemas.openxmlformats.org/officeDocument/2006/relationships/slideLayout" Target="../slideLayouts/slideLayout1115.xml"/><Relationship Id="rId600" Type="http://schemas.openxmlformats.org/officeDocument/2006/relationships/slideLayout" Target="../slideLayouts/slideLayout1238.xml"/><Relationship Id="rId337" Type="http://schemas.openxmlformats.org/officeDocument/2006/relationships/slideLayout" Target="../slideLayouts/slideLayout975.xml"/><Relationship Id="rId34" Type="http://schemas.openxmlformats.org/officeDocument/2006/relationships/slideLayout" Target="../slideLayouts/slideLayout672.xml"/><Relationship Id="rId544" Type="http://schemas.openxmlformats.org/officeDocument/2006/relationships/slideLayout" Target="../slideLayouts/slideLayout1182.xml"/><Relationship Id="rId183" Type="http://schemas.openxmlformats.org/officeDocument/2006/relationships/slideLayout" Target="../slideLayouts/slideLayout821.xml"/><Relationship Id="rId390" Type="http://schemas.openxmlformats.org/officeDocument/2006/relationships/slideLayout" Target="../slideLayouts/slideLayout1028.xml"/><Relationship Id="rId404" Type="http://schemas.openxmlformats.org/officeDocument/2006/relationships/slideLayout" Target="../slideLayouts/slideLayout1042.xml"/><Relationship Id="rId611" Type="http://schemas.openxmlformats.org/officeDocument/2006/relationships/slideLayout" Target="../slideLayouts/slideLayout1249.xml"/><Relationship Id="rId250" Type="http://schemas.openxmlformats.org/officeDocument/2006/relationships/slideLayout" Target="../slideLayouts/slideLayout888.xml"/><Relationship Id="rId488" Type="http://schemas.openxmlformats.org/officeDocument/2006/relationships/slideLayout" Target="../slideLayouts/slideLayout1126.xml"/><Relationship Id="rId45" Type="http://schemas.openxmlformats.org/officeDocument/2006/relationships/slideLayout" Target="../slideLayouts/slideLayout683.xml"/><Relationship Id="rId110" Type="http://schemas.openxmlformats.org/officeDocument/2006/relationships/slideLayout" Target="../slideLayouts/slideLayout748.xml"/><Relationship Id="rId348" Type="http://schemas.openxmlformats.org/officeDocument/2006/relationships/slideLayout" Target="../slideLayouts/slideLayout986.xml"/><Relationship Id="rId555" Type="http://schemas.openxmlformats.org/officeDocument/2006/relationships/slideLayout" Target="../slideLayouts/slideLayout1193.xml"/><Relationship Id="rId194" Type="http://schemas.openxmlformats.org/officeDocument/2006/relationships/slideLayout" Target="../slideLayouts/slideLayout832.xml"/><Relationship Id="rId208" Type="http://schemas.openxmlformats.org/officeDocument/2006/relationships/slideLayout" Target="../slideLayouts/slideLayout846.xml"/><Relationship Id="rId415" Type="http://schemas.openxmlformats.org/officeDocument/2006/relationships/slideLayout" Target="../slideLayouts/slideLayout1053.xml"/><Relationship Id="rId622" Type="http://schemas.openxmlformats.org/officeDocument/2006/relationships/slideLayout" Target="../slideLayouts/slideLayout1260.xml"/><Relationship Id="rId261" Type="http://schemas.openxmlformats.org/officeDocument/2006/relationships/slideLayout" Target="../slideLayouts/slideLayout899.xml"/><Relationship Id="rId499" Type="http://schemas.openxmlformats.org/officeDocument/2006/relationships/slideLayout" Target="../slideLayouts/slideLayout1137.xml"/><Relationship Id="rId56" Type="http://schemas.openxmlformats.org/officeDocument/2006/relationships/slideLayout" Target="../slideLayouts/slideLayout694.xml"/><Relationship Id="rId359" Type="http://schemas.openxmlformats.org/officeDocument/2006/relationships/slideLayout" Target="../slideLayouts/slideLayout997.xml"/><Relationship Id="rId566" Type="http://schemas.openxmlformats.org/officeDocument/2006/relationships/slideLayout" Target="../slideLayouts/slideLayout1204.xml"/><Relationship Id="rId121" Type="http://schemas.openxmlformats.org/officeDocument/2006/relationships/slideLayout" Target="../slideLayouts/slideLayout759.xml"/><Relationship Id="rId219" Type="http://schemas.openxmlformats.org/officeDocument/2006/relationships/slideLayout" Target="../slideLayouts/slideLayout857.xml"/><Relationship Id="rId426" Type="http://schemas.openxmlformats.org/officeDocument/2006/relationships/slideLayout" Target="../slideLayouts/slideLayout1064.xml"/><Relationship Id="rId633" Type="http://schemas.openxmlformats.org/officeDocument/2006/relationships/slideLayout" Target="../slideLayouts/slideLayout1271.xml"/><Relationship Id="rId67" Type="http://schemas.openxmlformats.org/officeDocument/2006/relationships/slideLayout" Target="../slideLayouts/slideLayout705.xml"/><Relationship Id="rId272" Type="http://schemas.openxmlformats.org/officeDocument/2006/relationships/slideLayout" Target="../slideLayouts/slideLayout910.xml"/><Relationship Id="rId577" Type="http://schemas.openxmlformats.org/officeDocument/2006/relationships/slideLayout" Target="../slideLayouts/slideLayout1215.xml"/><Relationship Id="rId132" Type="http://schemas.openxmlformats.org/officeDocument/2006/relationships/slideLayout" Target="../slideLayouts/slideLayout770.xml"/><Relationship Id="rId437" Type="http://schemas.openxmlformats.org/officeDocument/2006/relationships/slideLayout" Target="../slideLayouts/slideLayout1075.xml"/><Relationship Id="rId283" Type="http://schemas.openxmlformats.org/officeDocument/2006/relationships/slideLayout" Target="../slideLayouts/slideLayout921.xml"/><Relationship Id="rId490" Type="http://schemas.openxmlformats.org/officeDocument/2006/relationships/slideLayout" Target="../slideLayouts/slideLayout1128.xml"/><Relationship Id="rId504" Type="http://schemas.openxmlformats.org/officeDocument/2006/relationships/slideLayout" Target="../slideLayouts/slideLayout1142.xml"/><Relationship Id="rId78" Type="http://schemas.openxmlformats.org/officeDocument/2006/relationships/slideLayout" Target="../slideLayouts/slideLayout716.xml"/><Relationship Id="rId143" Type="http://schemas.openxmlformats.org/officeDocument/2006/relationships/slideLayout" Target="../slideLayouts/slideLayout781.xml"/><Relationship Id="rId350" Type="http://schemas.openxmlformats.org/officeDocument/2006/relationships/slideLayout" Target="../slideLayouts/slideLayout988.xml"/><Relationship Id="rId588" Type="http://schemas.openxmlformats.org/officeDocument/2006/relationships/slideLayout" Target="../slideLayouts/slideLayout1226.xml"/><Relationship Id="rId9" Type="http://schemas.openxmlformats.org/officeDocument/2006/relationships/slideLayout" Target="../slideLayouts/slideLayout647.xml"/><Relationship Id="rId210" Type="http://schemas.openxmlformats.org/officeDocument/2006/relationships/slideLayout" Target="../slideLayouts/slideLayout848.xml"/><Relationship Id="rId448" Type="http://schemas.openxmlformats.org/officeDocument/2006/relationships/slideLayout" Target="../slideLayouts/slideLayout10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6" r:id="rId40"/>
    <p:sldLayoutId id="2147487207" r:id="rId41"/>
    <p:sldLayoutId id="2147487208" r:id="rId42"/>
    <p:sldLayoutId id="2147487209" r:id="rId43"/>
    <p:sldLayoutId id="2147487210" r:id="rId44"/>
    <p:sldLayoutId id="2147487211" r:id="rId45"/>
    <p:sldLayoutId id="2147487212" r:id="rId46"/>
    <p:sldLayoutId id="2147487213" r:id="rId47"/>
    <p:sldLayoutId id="2147487214" r:id="rId48"/>
    <p:sldLayoutId id="2147487215" r:id="rId49"/>
    <p:sldLayoutId id="2147487216" r:id="rId50"/>
    <p:sldLayoutId id="2147487217" r:id="rId51"/>
    <p:sldLayoutId id="2147487218" r:id="rId52"/>
    <p:sldLayoutId id="2147487219" r:id="rId53"/>
    <p:sldLayoutId id="2147487220" r:id="rId54"/>
    <p:sldLayoutId id="2147487221" r:id="rId55"/>
    <p:sldLayoutId id="2147487222" r:id="rId56"/>
    <p:sldLayoutId id="2147487223" r:id="rId57"/>
    <p:sldLayoutId id="2147487224" r:id="rId58"/>
    <p:sldLayoutId id="2147487225" r:id="rId59"/>
    <p:sldLayoutId id="2147487226" r:id="rId60"/>
    <p:sldLayoutId id="2147487227" r:id="rId61"/>
    <p:sldLayoutId id="2147487228" r:id="rId62"/>
    <p:sldLayoutId id="2147487229" r:id="rId63"/>
    <p:sldLayoutId id="2147487058" r:id="rId64"/>
    <p:sldLayoutId id="2147487231" r:id="rId65"/>
    <p:sldLayoutId id="2147487232" r:id="rId66"/>
    <p:sldLayoutId id="2147487233" r:id="rId67"/>
    <p:sldLayoutId id="2147487234" r:id="rId68"/>
    <p:sldLayoutId id="2147487235" r:id="rId69"/>
    <p:sldLayoutId id="2147487236" r:id="rId70"/>
    <p:sldLayoutId id="2147487237" r:id="rId71"/>
    <p:sldLayoutId id="2147487059" r:id="rId72"/>
    <p:sldLayoutId id="2147487060" r:id="rId73"/>
    <p:sldLayoutId id="2147487061" r:id="rId74"/>
    <p:sldLayoutId id="2147487062" r:id="rId75"/>
    <p:sldLayoutId id="2147487242" r:id="rId76"/>
    <p:sldLayoutId id="2147487063" r:id="rId77"/>
    <p:sldLayoutId id="2147487244" r:id="rId78"/>
    <p:sldLayoutId id="2147487245" r:id="rId79"/>
    <p:sldLayoutId id="2147487246" r:id="rId80"/>
    <p:sldLayoutId id="2147487064" r:id="rId81"/>
    <p:sldLayoutId id="2147487248" r:id="rId82"/>
    <p:sldLayoutId id="2147487249" r:id="rId83"/>
    <p:sldLayoutId id="2147487250" r:id="rId84"/>
    <p:sldLayoutId id="2147487251" r:id="rId85"/>
    <p:sldLayoutId id="2147487252" r:id="rId86"/>
    <p:sldLayoutId id="2147487253" r:id="rId87"/>
    <p:sldLayoutId id="2147487065" r:id="rId88"/>
    <p:sldLayoutId id="2147487066" r:id="rId89"/>
    <p:sldLayoutId id="2147487067" r:id="rId90"/>
    <p:sldLayoutId id="2147487068" r:id="rId91"/>
    <p:sldLayoutId id="2147487069" r:id="rId92"/>
    <p:sldLayoutId id="2147487070" r:id="rId93"/>
    <p:sldLayoutId id="2147487071" r:id="rId94"/>
    <p:sldLayoutId id="2147487072" r:id="rId95"/>
    <p:sldLayoutId id="2147487073" r:id="rId96"/>
    <p:sldLayoutId id="2147487074" r:id="rId97"/>
    <p:sldLayoutId id="2147487075" r:id="rId98"/>
    <p:sldLayoutId id="2147487155" r:id="rId99"/>
    <p:sldLayoutId id="2147487265" r:id="rId100"/>
    <p:sldLayoutId id="2147487266" r:id="rId101"/>
    <p:sldLayoutId id="2147487076" r:id="rId102"/>
    <p:sldLayoutId id="2147487077" r:id="rId103"/>
    <p:sldLayoutId id="2147487078" r:id="rId104"/>
    <p:sldLayoutId id="2147487270" r:id="rId105"/>
    <p:sldLayoutId id="2147487271" r:id="rId106"/>
    <p:sldLayoutId id="2147487272" r:id="rId107"/>
    <p:sldLayoutId id="2147487273" r:id="rId108"/>
    <p:sldLayoutId id="2147487274" r:id="rId109"/>
    <p:sldLayoutId id="2147487275" r:id="rId110"/>
    <p:sldLayoutId id="2147487276" r:id="rId111"/>
    <p:sldLayoutId id="2147487277" r:id="rId112"/>
    <p:sldLayoutId id="2147487079" r:id="rId113"/>
    <p:sldLayoutId id="2147487080" r:id="rId114"/>
    <p:sldLayoutId id="2147487081" r:id="rId115"/>
    <p:sldLayoutId id="2147487082" r:id="rId116"/>
    <p:sldLayoutId id="2147487083" r:id="rId117"/>
    <p:sldLayoutId id="2147487084" r:id="rId118"/>
    <p:sldLayoutId id="2147487085" r:id="rId119"/>
    <p:sldLayoutId id="2147487086" r:id="rId120"/>
    <p:sldLayoutId id="2147487087" r:id="rId121"/>
    <p:sldLayoutId id="2147487088" r:id="rId122"/>
    <p:sldLayoutId id="2147487089" r:id="rId123"/>
    <p:sldLayoutId id="2147487090" r:id="rId124"/>
    <p:sldLayoutId id="2147487290" r:id="rId125"/>
    <p:sldLayoutId id="2147487291" r:id="rId126"/>
    <p:sldLayoutId id="2147487292" r:id="rId127"/>
    <p:sldLayoutId id="2147487294" r:id="rId128"/>
    <p:sldLayoutId id="2147487295" r:id="rId129"/>
    <p:sldLayoutId id="2147487296" r:id="rId130"/>
    <p:sldLayoutId id="2147487297" r:id="rId131"/>
    <p:sldLayoutId id="2147487298" r:id="rId132"/>
    <p:sldLayoutId id="2147487299" r:id="rId133"/>
    <p:sldLayoutId id="2147487300" r:id="rId134"/>
    <p:sldLayoutId id="2147487301" r:id="rId135"/>
    <p:sldLayoutId id="2147487092" r:id="rId136"/>
    <p:sldLayoutId id="2147487303" r:id="rId137"/>
    <p:sldLayoutId id="2147487304" r:id="rId138"/>
    <p:sldLayoutId id="2147487305" r:id="rId139"/>
    <p:sldLayoutId id="2147487306" r:id="rId140"/>
    <p:sldLayoutId id="2147487307" r:id="rId141"/>
    <p:sldLayoutId id="2147487308" r:id="rId142"/>
    <p:sldLayoutId id="2147487093" r:id="rId143"/>
    <p:sldLayoutId id="2147487310" r:id="rId144"/>
    <p:sldLayoutId id="2147487311" r:id="rId145"/>
    <p:sldLayoutId id="2147487096" r:id="rId146"/>
    <p:sldLayoutId id="2147487097" r:id="rId147"/>
    <p:sldLayoutId id="2147487098" r:id="rId148"/>
    <p:sldLayoutId id="2147487099" r:id="rId149"/>
    <p:sldLayoutId id="2147487320" r:id="rId150"/>
    <p:sldLayoutId id="2147487104" r:id="rId151"/>
    <p:sldLayoutId id="2147487326" r:id="rId152"/>
    <p:sldLayoutId id="2147487105" r:id="rId153"/>
    <p:sldLayoutId id="2147487106" r:id="rId154"/>
    <p:sldLayoutId id="2147487107" r:id="rId155"/>
    <p:sldLayoutId id="2147487108" r:id="rId156"/>
    <p:sldLayoutId id="2147487109" r:id="rId157"/>
    <p:sldLayoutId id="2147487110" r:id="rId158"/>
    <p:sldLayoutId id="2147487111" r:id="rId159"/>
    <p:sldLayoutId id="2147487112" r:id="rId160"/>
    <p:sldLayoutId id="2147487113" r:id="rId161"/>
    <p:sldLayoutId id="2147487115" r:id="rId162"/>
    <p:sldLayoutId id="2147487116" r:id="rId163"/>
    <p:sldLayoutId id="2147487117" r:id="rId164"/>
    <p:sldLayoutId id="2147487118" r:id="rId165"/>
    <p:sldLayoutId id="2147487119" r:id="rId166"/>
    <p:sldLayoutId id="2147487120" r:id="rId167"/>
    <p:sldLayoutId id="2147487121" r:id="rId168"/>
    <p:sldLayoutId id="2147487122" r:id="rId169"/>
    <p:sldLayoutId id="2147487123" r:id="rId170"/>
    <p:sldLayoutId id="2147487346" r:id="rId171"/>
    <p:sldLayoutId id="2147487124" r:id="rId172"/>
    <p:sldLayoutId id="2147487348" r:id="rId173"/>
    <p:sldLayoutId id="2147487349" r:id="rId174"/>
    <p:sldLayoutId id="2147483847" r:id="rId175"/>
    <p:sldLayoutId id="2147483848" r:id="rId176"/>
    <p:sldLayoutId id="2147483849" r:id="rId177"/>
    <p:sldLayoutId id="2147483850" r:id="rId178"/>
    <p:sldLayoutId id="2147483851" r:id="rId179"/>
    <p:sldLayoutId id="2147483852" r:id="rId180"/>
    <p:sldLayoutId id="2147483853" r:id="rId181"/>
    <p:sldLayoutId id="2147483854" r:id="rId182"/>
    <p:sldLayoutId id="2147483855" r:id="rId183"/>
    <p:sldLayoutId id="2147483856" r:id="rId184"/>
    <p:sldLayoutId id="2147483857" r:id="rId185"/>
    <p:sldLayoutId id="2147483858" r:id="rId186"/>
    <p:sldLayoutId id="2147483859" r:id="rId187"/>
    <p:sldLayoutId id="2147487005" r:id="rId188"/>
    <p:sldLayoutId id="2147483861" r:id="rId189"/>
    <p:sldLayoutId id="2147483862" r:id="rId190"/>
    <p:sldLayoutId id="2147483863" r:id="rId191"/>
    <p:sldLayoutId id="2147483864" r:id="rId192"/>
    <p:sldLayoutId id="2147483865" r:id="rId193"/>
    <p:sldLayoutId id="2147483866" r:id="rId194"/>
    <p:sldLayoutId id="2147483867" r:id="rId195"/>
    <p:sldLayoutId id="2147483868" r:id="rId196"/>
    <p:sldLayoutId id="2147483869" r:id="rId197"/>
    <p:sldLayoutId id="2147483870" r:id="rId198"/>
    <p:sldLayoutId id="2147483871" r:id="rId199"/>
    <p:sldLayoutId id="2147483872" r:id="rId200"/>
    <p:sldLayoutId id="2147483873" r:id="rId201"/>
    <p:sldLayoutId id="2147483874" r:id="rId202"/>
    <p:sldLayoutId id="2147483875" r:id="rId203"/>
    <p:sldLayoutId id="2147483876" r:id="rId204"/>
    <p:sldLayoutId id="2147483877" r:id="rId205"/>
    <p:sldLayoutId id="2147483878" r:id="rId206"/>
    <p:sldLayoutId id="2147483879" r:id="rId207"/>
    <p:sldLayoutId id="2147483880" r:id="rId208"/>
    <p:sldLayoutId id="2147483881" r:id="rId209"/>
    <p:sldLayoutId id="2147483882" r:id="rId210"/>
    <p:sldLayoutId id="2147483883" r:id="rId211"/>
    <p:sldLayoutId id="2147483884" r:id="rId212"/>
    <p:sldLayoutId id="2147483885" r:id="rId213"/>
    <p:sldLayoutId id="2147483886" r:id="rId214"/>
    <p:sldLayoutId id="2147483887" r:id="rId215"/>
    <p:sldLayoutId id="2147483888" r:id="rId216"/>
    <p:sldLayoutId id="2147483889" r:id="rId217"/>
    <p:sldLayoutId id="2147483890" r:id="rId218"/>
    <p:sldLayoutId id="2147483891" r:id="rId219"/>
    <p:sldLayoutId id="2147483892" r:id="rId220"/>
    <p:sldLayoutId id="2147483893" r:id="rId221"/>
    <p:sldLayoutId id="2147483894" r:id="rId222"/>
    <p:sldLayoutId id="2147483895" r:id="rId223"/>
    <p:sldLayoutId id="2147483896" r:id="rId224"/>
    <p:sldLayoutId id="2147483897" r:id="rId225"/>
    <p:sldLayoutId id="2147483898" r:id="rId226"/>
    <p:sldLayoutId id="2147483899" r:id="rId227"/>
    <p:sldLayoutId id="2147483900" r:id="rId228"/>
    <p:sldLayoutId id="2147483901" r:id="rId229"/>
    <p:sldLayoutId id="2147483902" r:id="rId230"/>
    <p:sldLayoutId id="2147483903" r:id="rId231"/>
    <p:sldLayoutId id="2147483904" r:id="rId232"/>
    <p:sldLayoutId id="2147483905" r:id="rId233"/>
    <p:sldLayoutId id="2147483906" r:id="rId234"/>
    <p:sldLayoutId id="2147483907" r:id="rId235"/>
    <p:sldLayoutId id="2147487126" r:id="rId236"/>
    <p:sldLayoutId id="2147487128" r:id="rId237"/>
    <p:sldLayoutId id="2147487129" r:id="rId238"/>
    <p:sldLayoutId id="2147487127" r:id="rId239"/>
    <p:sldLayoutId id="2147487131" r:id="rId240"/>
    <p:sldLayoutId id="2147487132" r:id="rId241"/>
    <p:sldLayoutId id="2147487133" r:id="rId242"/>
    <p:sldLayoutId id="2147487134" r:id="rId243"/>
    <p:sldLayoutId id="2147487135" r:id="rId244"/>
    <p:sldLayoutId id="2147487136" r:id="rId245"/>
    <p:sldLayoutId id="2147487137" r:id="rId246"/>
    <p:sldLayoutId id="2147487138" r:id="rId247"/>
    <p:sldLayoutId id="2147487139" r:id="rId248"/>
    <p:sldLayoutId id="2147487140" r:id="rId249"/>
    <p:sldLayoutId id="2147487141" r:id="rId250"/>
    <p:sldLayoutId id="2147487142" r:id="rId251"/>
    <p:sldLayoutId id="2147483925" r:id="rId252"/>
    <p:sldLayoutId id="2147483926" r:id="rId253"/>
    <p:sldLayoutId id="2147483927" r:id="rId254"/>
    <p:sldLayoutId id="2147483928" r:id="rId255"/>
    <p:sldLayoutId id="2147483929" r:id="rId256"/>
    <p:sldLayoutId id="2147483930" r:id="rId257"/>
    <p:sldLayoutId id="2147483931" r:id="rId258"/>
    <p:sldLayoutId id="2147483932" r:id="rId259"/>
    <p:sldLayoutId id="2147483933" r:id="rId260"/>
    <p:sldLayoutId id="2147483934" r:id="rId261"/>
    <p:sldLayoutId id="2147483935" r:id="rId262"/>
    <p:sldLayoutId id="2147483936" r:id="rId263"/>
    <p:sldLayoutId id="2147487130" r:id="rId264"/>
    <p:sldLayoutId id="2147483735" r:id="rId265"/>
    <p:sldLayoutId id="2147486987" r:id="rId266"/>
    <p:sldLayoutId id="2147487355" r:id="rId267"/>
    <p:sldLayoutId id="2147487369" r:id="rId268"/>
    <p:sldLayoutId id="2147487356" r:id="rId269"/>
    <p:sldLayoutId id="2147487357" r:id="rId270"/>
    <p:sldLayoutId id="2147487358" r:id="rId271"/>
    <p:sldLayoutId id="2147485074" r:id="rId272"/>
    <p:sldLayoutId id="2147485075" r:id="rId273"/>
    <p:sldLayoutId id="2147485076" r:id="rId274"/>
    <p:sldLayoutId id="2147485077" r:id="rId275"/>
    <p:sldLayoutId id="2147485078" r:id="rId276"/>
    <p:sldLayoutId id="2147484851" r:id="rId277"/>
    <p:sldLayoutId id="2147487362" r:id="rId278"/>
    <p:sldLayoutId id="2147487360" r:id="rId279"/>
    <p:sldLayoutId id="2147483736" r:id="rId280"/>
    <p:sldLayoutId id="2147487359" r:id="rId281"/>
    <p:sldLayoutId id="2147487361" r:id="rId282"/>
    <p:sldLayoutId id="2147483758" r:id="rId283"/>
    <p:sldLayoutId id="2147483759" r:id="rId284"/>
    <p:sldLayoutId id="2147483757" r:id="rId285"/>
    <p:sldLayoutId id="2147483764" r:id="rId286"/>
    <p:sldLayoutId id="2147483765" r:id="rId287"/>
    <p:sldLayoutId id="2147483766" r:id="rId288"/>
    <p:sldLayoutId id="2147487379" r:id="rId289"/>
    <p:sldLayoutId id="2147483739" r:id="rId290"/>
    <p:sldLayoutId id="2147483750" r:id="rId291"/>
    <p:sldLayoutId id="2147484627" r:id="rId292"/>
    <p:sldLayoutId id="2147485879" r:id="rId293"/>
    <p:sldLayoutId id="2147484838" r:id="rId294"/>
    <p:sldLayoutId id="2147485857" r:id="rId295"/>
    <p:sldLayoutId id="2147485858" r:id="rId296"/>
    <p:sldLayoutId id="2147485859" r:id="rId297"/>
    <p:sldLayoutId id="2147485860" r:id="rId298"/>
    <p:sldLayoutId id="2147485861" r:id="rId299"/>
    <p:sldLayoutId id="2147484634" r:id="rId300"/>
    <p:sldLayoutId id="2147484635" r:id="rId301"/>
    <p:sldLayoutId id="2147484238" r:id="rId302"/>
    <p:sldLayoutId id="2147486915" r:id="rId303"/>
    <p:sldLayoutId id="2147484840" r:id="rId304"/>
    <p:sldLayoutId id="2147486917" r:id="rId305"/>
    <p:sldLayoutId id="2147484203" r:id="rId306"/>
    <p:sldLayoutId id="2147484204" r:id="rId307"/>
    <p:sldLayoutId id="2147484205" r:id="rId308"/>
    <p:sldLayoutId id="2147484206" r:id="rId309"/>
    <p:sldLayoutId id="2147484237" r:id="rId310"/>
    <p:sldLayoutId id="2147484208" r:id="rId311"/>
    <p:sldLayoutId id="2147485064" r:id="rId312"/>
    <p:sldLayoutId id="2147485065" r:id="rId313"/>
    <p:sldLayoutId id="2147486965" r:id="rId314"/>
    <p:sldLayoutId id="2147485066" r:id="rId315"/>
    <p:sldLayoutId id="2147485067" r:id="rId316"/>
    <p:sldLayoutId id="2147485068" r:id="rId317"/>
    <p:sldLayoutId id="2147485069" r:id="rId318"/>
    <p:sldLayoutId id="2147485352" r:id="rId319"/>
    <p:sldLayoutId id="2147485070" r:id="rId320"/>
    <p:sldLayoutId id="2147486030" r:id="rId321"/>
    <p:sldLayoutId id="2147485071" r:id="rId322"/>
    <p:sldLayoutId id="2147487168" r:id="rId323"/>
    <p:sldLayoutId id="2147484626" r:id="rId324"/>
    <p:sldLayoutId id="2147484836" r:id="rId325"/>
    <p:sldLayoutId id="2147484837" r:id="rId326"/>
    <p:sldLayoutId id="2147487169" r:id="rId327"/>
    <p:sldLayoutId id="2147484602" r:id="rId328"/>
    <p:sldLayoutId id="2147484603" r:id="rId329"/>
    <p:sldLayoutId id="2147484604" r:id="rId330"/>
    <p:sldLayoutId id="2147484839" r:id="rId331"/>
    <p:sldLayoutId id="2147485847" r:id="rId332"/>
    <p:sldLayoutId id="2147485848" r:id="rId333"/>
    <p:sldLayoutId id="2147485849" r:id="rId334"/>
    <p:sldLayoutId id="2147485850" r:id="rId335"/>
    <p:sldLayoutId id="2147485851" r:id="rId336"/>
    <p:sldLayoutId id="2147485852" r:id="rId337"/>
    <p:sldLayoutId id="2147485853" r:id="rId338"/>
    <p:sldLayoutId id="2147485854" r:id="rId339"/>
    <p:sldLayoutId id="2147485855" r:id="rId340"/>
    <p:sldLayoutId id="2147485856" r:id="rId341"/>
    <p:sldLayoutId id="2147484384" r:id="rId342"/>
    <p:sldLayoutId id="2147485405" r:id="rId343"/>
    <p:sldLayoutId id="2147484559" r:id="rId344"/>
    <p:sldLayoutId id="2147484385" r:id="rId345"/>
    <p:sldLayoutId id="2147485406" r:id="rId346"/>
    <p:sldLayoutId id="2147484387" r:id="rId347"/>
    <p:sldLayoutId id="2147484388" r:id="rId348"/>
    <p:sldLayoutId id="2147484389" r:id="rId349"/>
    <p:sldLayoutId id="2147484390" r:id="rId350"/>
    <p:sldLayoutId id="2147484391" r:id="rId351"/>
    <p:sldLayoutId id="2147484392" r:id="rId352"/>
    <p:sldLayoutId id="2147486953" r:id="rId353"/>
    <p:sldLayoutId id="2147486205" r:id="rId354"/>
    <p:sldLayoutId id="2147486206" r:id="rId355"/>
    <p:sldLayoutId id="2147486207" r:id="rId356"/>
    <p:sldLayoutId id="2147486208" r:id="rId357"/>
    <p:sldLayoutId id="2147486209" r:id="rId358"/>
    <p:sldLayoutId id="2147484766" r:id="rId359"/>
    <p:sldLayoutId id="2147486426" r:id="rId360"/>
    <p:sldLayoutId id="2147486404" r:id="rId361"/>
    <p:sldLayoutId id="2147484767" r:id="rId362"/>
    <p:sldLayoutId id="2147486405" r:id="rId363"/>
    <p:sldLayoutId id="2147486406" r:id="rId364"/>
    <p:sldLayoutId id="2147486407" r:id="rId365"/>
    <p:sldLayoutId id="2147486408" r:id="rId366"/>
    <p:sldLayoutId id="2147486409" r:id="rId367"/>
    <p:sldLayoutId id="2147484768" r:id="rId368"/>
    <p:sldLayoutId id="2147486428" r:id="rId369"/>
    <p:sldLayoutId id="2147486200" r:id="rId370"/>
    <p:sldLayoutId id="2147486201" r:id="rId371"/>
    <p:sldLayoutId id="2147486202" r:id="rId372"/>
    <p:sldLayoutId id="2147486989" r:id="rId373"/>
    <p:sldLayoutId id="2147486203" r:id="rId374"/>
    <p:sldLayoutId id="2147484842" r:id="rId375"/>
    <p:sldLayoutId id="2147483743" r:id="rId376"/>
    <p:sldLayoutId id="2147483751" r:id="rId377"/>
    <p:sldLayoutId id="2147483760" r:id="rId378"/>
    <p:sldLayoutId id="2147487376" r:id="rId379"/>
    <p:sldLayoutId id="2147485878" r:id="rId380"/>
    <p:sldLayoutId id="2147484654" r:id="rId381"/>
    <p:sldLayoutId id="2147484655" r:id="rId382"/>
    <p:sldLayoutId id="2147484608" r:id="rId383"/>
    <p:sldLayoutId id="2147485213" r:id="rId384"/>
    <p:sldLayoutId id="2147485214" r:id="rId385"/>
    <p:sldLayoutId id="2147485179" r:id="rId386"/>
    <p:sldLayoutId id="2147485354" r:id="rId387"/>
    <p:sldLayoutId id="2147486926" r:id="rId388"/>
    <p:sldLayoutId id="2147486360" r:id="rId389"/>
    <p:sldLayoutId id="2147485556" r:id="rId390"/>
    <p:sldLayoutId id="2147486361" r:id="rId391"/>
    <p:sldLayoutId id="2147487375" r:id="rId392"/>
    <p:sldLayoutId id="2147484335" r:id="rId393"/>
    <p:sldLayoutId id="2147484336" r:id="rId394"/>
    <p:sldLayoutId id="2147484337" r:id="rId395"/>
    <p:sldLayoutId id="2147484853" r:id="rId396"/>
    <p:sldLayoutId id="2147484339" r:id="rId397"/>
    <p:sldLayoutId id="2147484340" r:id="rId398"/>
    <p:sldLayoutId id="2147484341" r:id="rId399"/>
    <p:sldLayoutId id="2147484342" r:id="rId400"/>
    <p:sldLayoutId id="2147484343" r:id="rId401"/>
    <p:sldLayoutId id="2147484344" r:id="rId402"/>
    <p:sldLayoutId id="2147485468" r:id="rId403"/>
    <p:sldLayoutId id="2147485865" r:id="rId404"/>
    <p:sldLayoutId id="2147484364" r:id="rId405"/>
    <p:sldLayoutId id="2147485358" r:id="rId406"/>
    <p:sldLayoutId id="2147485868" r:id="rId407"/>
    <p:sldLayoutId id="2147485869" r:id="rId408"/>
    <p:sldLayoutId id="2147485870" r:id="rId409"/>
    <p:sldLayoutId id="2147485385" r:id="rId410"/>
    <p:sldLayoutId id="2147485871" r:id="rId411"/>
    <p:sldLayoutId id="2147485469" r:id="rId412"/>
    <p:sldLayoutId id="2147484570" r:id="rId413"/>
    <p:sldLayoutId id="2147484222" r:id="rId414"/>
    <p:sldLayoutId id="2147484854" r:id="rId415"/>
    <p:sldLayoutId id="2147484855" r:id="rId416"/>
    <p:sldLayoutId id="2147485079" r:id="rId417"/>
    <p:sldLayoutId id="2147485080" r:id="rId418"/>
    <p:sldLayoutId id="2147485081" r:id="rId419"/>
    <p:sldLayoutId id="2147485082" r:id="rId420"/>
    <p:sldLayoutId id="2147485083" r:id="rId421"/>
    <p:sldLayoutId id="2147484596" r:id="rId422"/>
    <p:sldLayoutId id="2147484835" r:id="rId423"/>
    <p:sldLayoutId id="2147484353" r:id="rId424"/>
    <p:sldLayoutId id="2147484852" r:id="rId425"/>
    <p:sldLayoutId id="2147485093" r:id="rId426"/>
    <p:sldLayoutId id="2147486929" r:id="rId427"/>
    <p:sldLayoutId id="2147485072" r:id="rId428"/>
    <p:sldLayoutId id="2147485355" r:id="rId429"/>
    <p:sldLayoutId id="2147487365" r:id="rId430"/>
    <p:sldLayoutId id="2147484355" r:id="rId431"/>
    <p:sldLayoutId id="2147485444" r:id="rId432"/>
    <p:sldLayoutId id="2147484356" r:id="rId433"/>
    <p:sldLayoutId id="2147483860" r:id="rId434"/>
    <p:sldLayoutId id="2147486993" r:id="rId435"/>
    <p:sldLayoutId id="2147484357" r:id="rId436"/>
    <p:sldLayoutId id="2147484358" r:id="rId437"/>
    <p:sldLayoutId id="2147484359" r:id="rId438"/>
    <p:sldLayoutId id="2147484360" r:id="rId439"/>
    <p:sldLayoutId id="2147484361" r:id="rId440"/>
    <p:sldLayoutId id="2147484393" r:id="rId441"/>
    <p:sldLayoutId id="2147484394" r:id="rId442"/>
    <p:sldLayoutId id="2147486423" r:id="rId443"/>
    <p:sldLayoutId id="2147486950" r:id="rId444"/>
    <p:sldLayoutId id="2147484845" r:id="rId445"/>
    <p:sldLayoutId id="2147484846" r:id="rId446"/>
    <p:sldLayoutId id="2147484566" r:id="rId447"/>
    <p:sldLayoutId id="2147485470" r:id="rId448"/>
    <p:sldLayoutId id="2147484231" r:id="rId449"/>
    <p:sldLayoutId id="2147484268" r:id="rId450"/>
    <p:sldLayoutId id="2147484235" r:id="rId451"/>
    <p:sldLayoutId id="2147484847" r:id="rId452"/>
    <p:sldLayoutId id="2147484245" r:id="rId453"/>
    <p:sldLayoutId id="2147484262" r:id="rId454"/>
    <p:sldLayoutId id="2147486955" r:id="rId455"/>
    <p:sldLayoutId id="2147485238" r:id="rId456"/>
    <p:sldLayoutId id="2147486956" r:id="rId457"/>
    <p:sldLayoutId id="2147484233" r:id="rId458"/>
    <p:sldLayoutId id="2147486948" r:id="rId459"/>
    <p:sldLayoutId id="2147484774" r:id="rId460"/>
    <p:sldLayoutId id="2147484775" r:id="rId461"/>
    <p:sldLayoutId id="2147486425" r:id="rId462"/>
    <p:sldLayoutId id="2147484776" r:id="rId463"/>
    <p:sldLayoutId id="2147484777" r:id="rId464"/>
    <p:sldLayoutId id="2147486387" r:id="rId465"/>
    <p:sldLayoutId id="2147486389" r:id="rId466"/>
    <p:sldLayoutId id="2147486391" r:id="rId467"/>
    <p:sldLayoutId id="2147486949" r:id="rId468"/>
    <p:sldLayoutId id="2147486424" r:id="rId469"/>
    <p:sldLayoutId id="2147484821" r:id="rId470"/>
    <p:sldLayoutId id="2147486952" r:id="rId471"/>
    <p:sldLayoutId id="2147485239" r:id="rId472"/>
    <p:sldLayoutId id="2147484848" r:id="rId473"/>
    <p:sldLayoutId id="2147486048" r:id="rId474"/>
    <p:sldLayoutId id="2147486954" r:id="rId475"/>
    <p:sldLayoutId id="2147484400" r:id="rId476"/>
    <p:sldLayoutId id="2147484401" r:id="rId477"/>
    <p:sldLayoutId id="2147484402" r:id="rId478"/>
    <p:sldLayoutId id="2147484822" r:id="rId479"/>
    <p:sldLayoutId id="2147486251" r:id="rId480"/>
    <p:sldLayoutId id="2147484849" r:id="rId481"/>
    <p:sldLayoutId id="2147484850" r:id="rId482"/>
    <p:sldLayoutId id="2147487351" r:id="rId483"/>
    <p:sldLayoutId id="2147486990" r:id="rId484"/>
    <p:sldLayoutId id="2147484585" r:id="rId485"/>
    <p:sldLayoutId id="2147484586" r:id="rId486"/>
    <p:sldLayoutId id="2147484587" r:id="rId487"/>
    <p:sldLayoutId id="2147484588" r:id="rId488"/>
    <p:sldLayoutId id="2147484592" r:id="rId489"/>
    <p:sldLayoutId id="2147484593" r:id="rId490"/>
    <p:sldLayoutId id="2147484594" r:id="rId491"/>
    <p:sldLayoutId id="2147487156" r:id="rId492"/>
    <p:sldLayoutId id="2147485370" r:id="rId493"/>
    <p:sldLayoutId id="2147485872" r:id="rId494"/>
    <p:sldLayoutId id="2147486927" r:id="rId495"/>
    <p:sldLayoutId id="2147485367" r:id="rId496"/>
    <p:sldLayoutId id="2147485368" r:id="rId497"/>
    <p:sldLayoutId id="2147485369" r:id="rId498"/>
    <p:sldLayoutId id="2147485400" r:id="rId499"/>
    <p:sldLayoutId id="2147485401" r:id="rId500"/>
    <p:sldLayoutId id="2147485402" r:id="rId501"/>
    <p:sldLayoutId id="2147485403" r:id="rId502"/>
    <p:sldLayoutId id="2147486221" r:id="rId503"/>
    <p:sldLayoutId id="2147483752" r:id="rId504"/>
    <p:sldLayoutId id="2147483753" r:id="rId505"/>
    <p:sldLayoutId id="2147483754" r:id="rId506"/>
    <p:sldLayoutId id="2147483755" r:id="rId507"/>
    <p:sldLayoutId id="2147484386" r:id="rId508"/>
    <p:sldLayoutId id="2147484815" r:id="rId509"/>
    <p:sldLayoutId id="2147484816" r:id="rId510"/>
    <p:sldLayoutId id="2147484817" r:id="rId511"/>
    <p:sldLayoutId id="2147484329" r:id="rId512"/>
    <p:sldLayoutId id="2147486396" r:id="rId513"/>
    <p:sldLayoutId id="2147486397" r:id="rId514"/>
    <p:sldLayoutId id="2147486418" r:id="rId515"/>
    <p:sldLayoutId id="2147484330" r:id="rId516"/>
    <p:sldLayoutId id="2147484331" r:id="rId517"/>
    <p:sldLayoutId id="2147484332" r:id="rId518"/>
    <p:sldLayoutId id="2147484485" r:id="rId519"/>
    <p:sldLayoutId id="2147484486" r:id="rId520"/>
    <p:sldLayoutId id="2147484609" r:id="rId521"/>
    <p:sldLayoutId id="2147484477" r:id="rId522"/>
    <p:sldLayoutId id="2147484478" r:id="rId523"/>
    <p:sldLayoutId id="2147484260" r:id="rId524"/>
    <p:sldLayoutId id="2147484856" r:id="rId525"/>
    <p:sldLayoutId id="2147484480" r:id="rId526"/>
    <p:sldLayoutId id="2147484267" r:id="rId527"/>
    <p:sldLayoutId id="2147484481" r:id="rId528"/>
    <p:sldLayoutId id="2147484482" r:id="rId529"/>
    <p:sldLayoutId id="2147484483" r:id="rId530"/>
    <p:sldLayoutId id="2147484484" r:id="rId531"/>
    <p:sldLayoutId id="2147485270" r:id="rId532"/>
    <p:sldLayoutId id="2147485271" r:id="rId533"/>
    <p:sldLayoutId id="2147485272" r:id="rId534"/>
    <p:sldLayoutId id="2147484857" r:id="rId535"/>
    <p:sldLayoutId id="2147485273" r:id="rId536"/>
    <p:sldLayoutId id="2147485274" r:id="rId537"/>
    <p:sldLayoutId id="2147485275" r:id="rId538"/>
    <p:sldLayoutId id="2147485276" r:id="rId539"/>
    <p:sldLayoutId id="2147485277" r:id="rId540"/>
    <p:sldLayoutId id="2147485278" r:id="rId541"/>
    <p:sldLayoutId id="2147486991" r:id="rId542"/>
    <p:sldLayoutId id="2147486992" r:id="rId543"/>
    <p:sldLayoutId id="2147486252" r:id="rId544"/>
    <p:sldLayoutId id="2147486253" r:id="rId545"/>
    <p:sldLayoutId id="2147486363" r:id="rId546"/>
    <p:sldLayoutId id="2147487006" r:id="rId547"/>
    <p:sldLayoutId id="2147486364" r:id="rId548"/>
    <p:sldLayoutId id="2147486365" r:id="rId549"/>
    <p:sldLayoutId id="2147487007" r:id="rId550"/>
    <p:sldLayoutId id="2147483940" r:id="rId551"/>
    <p:sldLayoutId id="2147486366" r:id="rId552"/>
    <p:sldLayoutId id="2147486367" r:id="rId553"/>
    <p:sldLayoutId id="2147486368" r:id="rId554"/>
    <p:sldLayoutId id="2147486369" r:id="rId555"/>
    <p:sldLayoutId id="2147483944" r:id="rId556"/>
    <p:sldLayoutId id="2147483945" r:id="rId557"/>
    <p:sldLayoutId id="2147483949" r:id="rId558"/>
    <p:sldLayoutId id="2147483953" r:id="rId559"/>
    <p:sldLayoutId id="2147483954" r:id="rId560"/>
    <p:sldLayoutId id="2147483955" r:id="rId561"/>
    <p:sldLayoutId id="2147483960" r:id="rId562"/>
    <p:sldLayoutId id="2147483967" r:id="rId563"/>
    <p:sldLayoutId id="2147483968" r:id="rId564"/>
    <p:sldLayoutId id="2147483969" r:id="rId565"/>
    <p:sldLayoutId id="2147483970" r:id="rId566"/>
    <p:sldLayoutId id="2147483971" r:id="rId567"/>
    <p:sldLayoutId id="2147483972" r:id="rId568"/>
    <p:sldLayoutId id="2147483973" r:id="rId569"/>
    <p:sldLayoutId id="2147483974" r:id="rId570"/>
    <p:sldLayoutId id="2147483975" r:id="rId571"/>
    <p:sldLayoutId id="2147483976" r:id="rId572"/>
    <p:sldLayoutId id="2147483977" r:id="rId573"/>
    <p:sldLayoutId id="2147483978" r:id="rId574"/>
    <p:sldLayoutId id="2147483979" r:id="rId575"/>
    <p:sldLayoutId id="2147483980" r:id="rId576"/>
    <p:sldLayoutId id="2147483981" r:id="rId577"/>
    <p:sldLayoutId id="2147483982" r:id="rId578"/>
    <p:sldLayoutId id="2147483983" r:id="rId579"/>
    <p:sldLayoutId id="2147483984" r:id="rId580"/>
    <p:sldLayoutId id="2147483985" r:id="rId581"/>
    <p:sldLayoutId id="2147483986" r:id="rId582"/>
    <p:sldLayoutId id="2147483987" r:id="rId583"/>
    <p:sldLayoutId id="2147483988" r:id="rId584"/>
    <p:sldLayoutId id="2147483989" r:id="rId585"/>
    <p:sldLayoutId id="2147483990" r:id="rId586"/>
    <p:sldLayoutId id="2147483991" r:id="rId587"/>
    <p:sldLayoutId id="2147483992" r:id="rId588"/>
    <p:sldLayoutId id="2147483993" r:id="rId589"/>
    <p:sldLayoutId id="2147483994" r:id="rId590"/>
    <p:sldLayoutId id="2147483995" r:id="rId591"/>
    <p:sldLayoutId id="2147483996" r:id="rId592"/>
    <p:sldLayoutId id="2147483997" r:id="rId593"/>
    <p:sldLayoutId id="2147483998" r:id="rId594"/>
    <p:sldLayoutId id="2147483999" r:id="rId595"/>
    <p:sldLayoutId id="2147484000" r:id="rId596"/>
    <p:sldLayoutId id="2147484001" r:id="rId597"/>
    <p:sldLayoutId id="2147484652" r:id="rId598"/>
    <p:sldLayoutId id="2147484653" r:id="rId599"/>
    <p:sldLayoutId id="2147487008" r:id="rId600"/>
    <p:sldLayoutId id="2147487009" r:id="rId601"/>
    <p:sldLayoutId id="2147487010" r:id="rId602"/>
    <p:sldLayoutId id="2147487011" r:id="rId603"/>
    <p:sldLayoutId id="2147487012" r:id="rId604"/>
    <p:sldLayoutId id="2147487013" r:id="rId605"/>
    <p:sldLayoutId id="2147484999" r:id="rId606"/>
    <p:sldLayoutId id="2147485001" r:id="rId607"/>
    <p:sldLayoutId id="2147485002" r:id="rId608"/>
    <p:sldLayoutId id="2147485006" r:id="rId609"/>
    <p:sldLayoutId id="2147485007" r:id="rId610"/>
    <p:sldLayoutId id="2147485008" r:id="rId611"/>
    <p:sldLayoutId id="2147485877" r:id="rId612"/>
    <p:sldLayoutId id="2147486419" r:id="rId613"/>
    <p:sldLayoutId id="2147486079" r:id="rId614"/>
    <p:sldLayoutId id="2147487352" r:id="rId615"/>
    <p:sldLayoutId id="2147483677" r:id="rId616"/>
    <p:sldLayoutId id="2147487353" r:id="rId617"/>
    <p:sldLayoutId id="2147487354" r:id="rId618"/>
    <p:sldLayoutId id="2147485215" r:id="rId619"/>
    <p:sldLayoutId id="2147485425" r:id="rId620"/>
    <p:sldLayoutId id="2147485903" r:id="rId621"/>
    <p:sldLayoutId id="2147485904" r:id="rId622"/>
    <p:sldLayoutId id="2147484354" r:id="rId623"/>
    <p:sldLayoutId id="2147484572" r:id="rId624"/>
    <p:sldLayoutId id="2147485391" r:id="rId625"/>
    <p:sldLayoutId id="2147485392" r:id="rId626"/>
    <p:sldLayoutId id="2147484376" r:id="rId627"/>
    <p:sldLayoutId id="2147485905" r:id="rId628"/>
    <p:sldLayoutId id="2147485906" r:id="rId629"/>
    <p:sldLayoutId id="2147485880" r:id="rId630"/>
    <p:sldLayoutId id="2147485393" r:id="rId631"/>
    <p:sldLayoutId id="2147485394" r:id="rId632"/>
    <p:sldLayoutId id="2147485395" r:id="rId633"/>
    <p:sldLayoutId id="2147486284" r:id="rId634"/>
    <p:sldLayoutId id="2147484378" r:id="rId635"/>
    <p:sldLayoutId id="2147484379" r:id="rId636"/>
    <p:sldLayoutId id="2147485396" r:id="rId637"/>
    <p:sldLayoutId id="2147488079" r:id="rId63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446292310"/>
      </p:ext>
    </p:extLst>
  </p:cSld>
  <p:clrMap bg1="lt1" tx1="dk1" bg2="lt2" tx2="dk2" accent1="accent1" accent2="accent2" accent3="accent3" accent4="accent4" accent5="accent5" accent6="accent6" hlink="hlink" folHlink="folHlink"/>
  <p:sldLayoutIdLst>
    <p:sldLayoutId id="2147487383" r:id="rId1"/>
    <p:sldLayoutId id="2147487384" r:id="rId2"/>
    <p:sldLayoutId id="2147487385" r:id="rId3"/>
    <p:sldLayoutId id="2147487386" r:id="rId4"/>
    <p:sldLayoutId id="2147487387" r:id="rId5"/>
    <p:sldLayoutId id="2147487388" r:id="rId6"/>
    <p:sldLayoutId id="2147487389" r:id="rId7"/>
    <p:sldLayoutId id="2147487390" r:id="rId8"/>
    <p:sldLayoutId id="2147487391" r:id="rId9"/>
    <p:sldLayoutId id="2147487392" r:id="rId10"/>
    <p:sldLayoutId id="2147487393" r:id="rId11"/>
    <p:sldLayoutId id="2147487394" r:id="rId12"/>
    <p:sldLayoutId id="2147487395" r:id="rId13"/>
    <p:sldLayoutId id="2147487396" r:id="rId14"/>
    <p:sldLayoutId id="2147487397" r:id="rId15"/>
    <p:sldLayoutId id="2147487398" r:id="rId16"/>
    <p:sldLayoutId id="2147487401" r:id="rId17"/>
    <p:sldLayoutId id="2147487402" r:id="rId18"/>
    <p:sldLayoutId id="2147487403" r:id="rId19"/>
    <p:sldLayoutId id="2147487404" r:id="rId20"/>
    <p:sldLayoutId id="2147487405" r:id="rId21"/>
    <p:sldLayoutId id="2147487406" r:id="rId22"/>
    <p:sldLayoutId id="2147487407" r:id="rId23"/>
    <p:sldLayoutId id="2147487408" r:id="rId24"/>
    <p:sldLayoutId id="2147487409" r:id="rId25"/>
    <p:sldLayoutId id="2147487410" r:id="rId26"/>
    <p:sldLayoutId id="2147487411" r:id="rId27"/>
    <p:sldLayoutId id="2147487412" r:id="rId28"/>
    <p:sldLayoutId id="2147487413" r:id="rId29"/>
    <p:sldLayoutId id="2147487414" r:id="rId30"/>
    <p:sldLayoutId id="2147487415" r:id="rId31"/>
    <p:sldLayoutId id="2147487416" r:id="rId32"/>
    <p:sldLayoutId id="2147487417" r:id="rId33"/>
    <p:sldLayoutId id="2147487418" r:id="rId34"/>
    <p:sldLayoutId id="2147487419" r:id="rId35"/>
    <p:sldLayoutId id="2147487420" r:id="rId36"/>
    <p:sldLayoutId id="2147487421" r:id="rId37"/>
    <p:sldLayoutId id="2147487422" r:id="rId38"/>
    <p:sldLayoutId id="2147487423" r:id="rId39"/>
    <p:sldLayoutId id="2147487424" r:id="rId40"/>
    <p:sldLayoutId id="2147487425" r:id="rId41"/>
    <p:sldLayoutId id="2147487426" r:id="rId42"/>
    <p:sldLayoutId id="2147487427" r:id="rId43"/>
    <p:sldLayoutId id="2147487428" r:id="rId44"/>
    <p:sldLayoutId id="2147487429" r:id="rId45"/>
    <p:sldLayoutId id="2147487430" r:id="rId46"/>
    <p:sldLayoutId id="2147487431" r:id="rId47"/>
    <p:sldLayoutId id="2147487432" r:id="rId48"/>
    <p:sldLayoutId id="2147487434" r:id="rId49"/>
    <p:sldLayoutId id="2147487435" r:id="rId50"/>
    <p:sldLayoutId id="2147487436" r:id="rId51"/>
    <p:sldLayoutId id="2147487437" r:id="rId52"/>
    <p:sldLayoutId id="2147487438" r:id="rId53"/>
    <p:sldLayoutId id="2147487439" r:id="rId54"/>
    <p:sldLayoutId id="2147487440" r:id="rId55"/>
    <p:sldLayoutId id="2147487441" r:id="rId56"/>
    <p:sldLayoutId id="2147487442" r:id="rId57"/>
    <p:sldLayoutId id="2147487443" r:id="rId58"/>
    <p:sldLayoutId id="2147487444" r:id="rId59"/>
    <p:sldLayoutId id="2147487445" r:id="rId60"/>
    <p:sldLayoutId id="2147487446" r:id="rId61"/>
    <p:sldLayoutId id="2147487447" r:id="rId62"/>
    <p:sldLayoutId id="2147487448" r:id="rId63"/>
    <p:sldLayoutId id="2147487449" r:id="rId64"/>
    <p:sldLayoutId id="2147487450" r:id="rId65"/>
    <p:sldLayoutId id="2147487451" r:id="rId66"/>
    <p:sldLayoutId id="2147487452" r:id="rId67"/>
    <p:sldLayoutId id="2147487453" r:id="rId68"/>
    <p:sldLayoutId id="2147487454" r:id="rId69"/>
    <p:sldLayoutId id="2147487455" r:id="rId70"/>
    <p:sldLayoutId id="2147487456" r:id="rId71"/>
    <p:sldLayoutId id="2147487464" r:id="rId72"/>
    <p:sldLayoutId id="2147487465" r:id="rId73"/>
    <p:sldLayoutId id="2147487466" r:id="rId74"/>
    <p:sldLayoutId id="2147487469" r:id="rId75"/>
    <p:sldLayoutId id="2147487470" r:id="rId76"/>
    <p:sldLayoutId id="2147487471" r:id="rId77"/>
    <p:sldLayoutId id="2147487472" r:id="rId78"/>
    <p:sldLayoutId id="2147487473" r:id="rId79"/>
    <p:sldLayoutId id="2147487474" r:id="rId80"/>
    <p:sldLayoutId id="2147487475" r:id="rId81"/>
    <p:sldLayoutId id="2147487476" r:id="rId82"/>
    <p:sldLayoutId id="2147487477" r:id="rId83"/>
    <p:sldLayoutId id="2147487478" r:id="rId84"/>
    <p:sldLayoutId id="2147487479" r:id="rId85"/>
    <p:sldLayoutId id="2147487480" r:id="rId86"/>
    <p:sldLayoutId id="2147487481" r:id="rId87"/>
    <p:sldLayoutId id="2147487482" r:id="rId88"/>
    <p:sldLayoutId id="2147487483" r:id="rId89"/>
    <p:sldLayoutId id="2147487484" r:id="rId90"/>
    <p:sldLayoutId id="2147487485" r:id="rId91"/>
    <p:sldLayoutId id="2147487486" r:id="rId92"/>
    <p:sldLayoutId id="2147487487" r:id="rId93"/>
    <p:sldLayoutId id="2147487488" r:id="rId94"/>
    <p:sldLayoutId id="2147487489" r:id="rId95"/>
    <p:sldLayoutId id="2147487490" r:id="rId96"/>
    <p:sldLayoutId id="2147487491" r:id="rId97"/>
    <p:sldLayoutId id="2147487492" r:id="rId98"/>
    <p:sldLayoutId id="2147487493" r:id="rId99"/>
    <p:sldLayoutId id="2147487494" r:id="rId100"/>
    <p:sldLayoutId id="2147487495" r:id="rId101"/>
    <p:sldLayoutId id="2147487496" r:id="rId102"/>
    <p:sldLayoutId id="2147487497" r:id="rId103"/>
    <p:sldLayoutId id="2147487498" r:id="rId104"/>
    <p:sldLayoutId id="2147487499" r:id="rId105"/>
    <p:sldLayoutId id="2147487500" r:id="rId106"/>
    <p:sldLayoutId id="2147487501" r:id="rId107"/>
    <p:sldLayoutId id="2147487502" r:id="rId108"/>
    <p:sldLayoutId id="2147487503" r:id="rId109"/>
    <p:sldLayoutId id="2147487504" r:id="rId110"/>
    <p:sldLayoutId id="2147487505" r:id="rId111"/>
    <p:sldLayoutId id="2147487506" r:id="rId112"/>
    <p:sldLayoutId id="2147487507" r:id="rId113"/>
    <p:sldLayoutId id="2147487508" r:id="rId114"/>
    <p:sldLayoutId id="2147487509" r:id="rId115"/>
    <p:sldLayoutId id="2147487510" r:id="rId116"/>
    <p:sldLayoutId id="2147487511" r:id="rId117"/>
    <p:sldLayoutId id="2147487512" r:id="rId118"/>
    <p:sldLayoutId id="2147487513" r:id="rId119"/>
    <p:sldLayoutId id="2147487514" r:id="rId120"/>
    <p:sldLayoutId id="2147487515" r:id="rId121"/>
    <p:sldLayoutId id="2147487516" r:id="rId122"/>
    <p:sldLayoutId id="2147487517" r:id="rId123"/>
    <p:sldLayoutId id="2147487518" r:id="rId124"/>
    <p:sldLayoutId id="2147487519" r:id="rId125"/>
    <p:sldLayoutId id="2147487520" r:id="rId126"/>
    <p:sldLayoutId id="2147487521" r:id="rId127"/>
    <p:sldLayoutId id="2147487522" r:id="rId128"/>
    <p:sldLayoutId id="2147487523" r:id="rId129"/>
    <p:sldLayoutId id="2147487524" r:id="rId130"/>
    <p:sldLayoutId id="2147487525" r:id="rId131"/>
    <p:sldLayoutId id="2147487526" r:id="rId132"/>
    <p:sldLayoutId id="2147487527" r:id="rId133"/>
    <p:sldLayoutId id="2147487528" r:id="rId134"/>
    <p:sldLayoutId id="2147487529" r:id="rId135"/>
    <p:sldLayoutId id="2147487530" r:id="rId136"/>
    <p:sldLayoutId id="2147487531" r:id="rId137"/>
    <p:sldLayoutId id="2147487532" r:id="rId138"/>
    <p:sldLayoutId id="2147487533" r:id="rId139"/>
    <p:sldLayoutId id="2147487534" r:id="rId140"/>
    <p:sldLayoutId id="2147487535" r:id="rId141"/>
    <p:sldLayoutId id="2147487536" r:id="rId142"/>
    <p:sldLayoutId id="2147487537" r:id="rId143"/>
    <p:sldLayoutId id="2147487538" r:id="rId144"/>
    <p:sldLayoutId id="2147487539" r:id="rId145"/>
    <p:sldLayoutId id="2147487540" r:id="rId146"/>
    <p:sldLayoutId id="2147487541" r:id="rId147"/>
    <p:sldLayoutId id="2147487542" r:id="rId148"/>
    <p:sldLayoutId id="2147487543" r:id="rId149"/>
    <p:sldLayoutId id="2147487544" r:id="rId150"/>
    <p:sldLayoutId id="2147487545" r:id="rId151"/>
    <p:sldLayoutId id="2147487546" r:id="rId152"/>
    <p:sldLayoutId id="2147487547" r:id="rId153"/>
    <p:sldLayoutId id="2147487548" r:id="rId154"/>
    <p:sldLayoutId id="2147487549" r:id="rId155"/>
    <p:sldLayoutId id="2147487550" r:id="rId156"/>
    <p:sldLayoutId id="2147487551" r:id="rId157"/>
    <p:sldLayoutId id="2147487552" r:id="rId158"/>
    <p:sldLayoutId id="2147487553" r:id="rId159"/>
    <p:sldLayoutId id="2147487554" r:id="rId160"/>
    <p:sldLayoutId id="2147487555" r:id="rId161"/>
    <p:sldLayoutId id="2147487556" r:id="rId162"/>
    <p:sldLayoutId id="2147487557" r:id="rId163"/>
    <p:sldLayoutId id="2147487558" r:id="rId164"/>
    <p:sldLayoutId id="2147487559" r:id="rId165"/>
    <p:sldLayoutId id="2147487560" r:id="rId166"/>
    <p:sldLayoutId id="2147487561" r:id="rId167"/>
    <p:sldLayoutId id="2147487562" r:id="rId168"/>
    <p:sldLayoutId id="2147487563" r:id="rId169"/>
    <p:sldLayoutId id="2147487564" r:id="rId170"/>
    <p:sldLayoutId id="2147487565" r:id="rId171"/>
    <p:sldLayoutId id="2147487566" r:id="rId172"/>
    <p:sldLayoutId id="2147487567" r:id="rId173"/>
    <p:sldLayoutId id="2147487568" r:id="rId174"/>
    <p:sldLayoutId id="2147487569" r:id="rId175"/>
    <p:sldLayoutId id="2147487570" r:id="rId176"/>
    <p:sldLayoutId id="2147487571" r:id="rId177"/>
    <p:sldLayoutId id="2147487572" r:id="rId178"/>
    <p:sldLayoutId id="2147487573" r:id="rId179"/>
    <p:sldLayoutId id="2147487574" r:id="rId180"/>
    <p:sldLayoutId id="2147487575" r:id="rId181"/>
    <p:sldLayoutId id="2147487576" r:id="rId182"/>
    <p:sldLayoutId id="2147487577" r:id="rId183"/>
    <p:sldLayoutId id="2147487578" r:id="rId184"/>
    <p:sldLayoutId id="2147487579" r:id="rId185"/>
    <p:sldLayoutId id="2147487580" r:id="rId186"/>
    <p:sldLayoutId id="2147487581" r:id="rId187"/>
    <p:sldLayoutId id="2147487582" r:id="rId188"/>
    <p:sldLayoutId id="2147487583" r:id="rId189"/>
    <p:sldLayoutId id="2147487584" r:id="rId190"/>
    <p:sldLayoutId id="2147487585" r:id="rId191"/>
    <p:sldLayoutId id="2147487586" r:id="rId192"/>
    <p:sldLayoutId id="2147487587" r:id="rId193"/>
    <p:sldLayoutId id="2147487588" r:id="rId194"/>
    <p:sldLayoutId id="2147487589" r:id="rId195"/>
    <p:sldLayoutId id="2147487590" r:id="rId196"/>
    <p:sldLayoutId id="2147487591" r:id="rId197"/>
    <p:sldLayoutId id="2147487592" r:id="rId198"/>
    <p:sldLayoutId id="2147487593" r:id="rId199"/>
    <p:sldLayoutId id="2147487594" r:id="rId200"/>
    <p:sldLayoutId id="2147487595" r:id="rId201"/>
    <p:sldLayoutId id="2147487596" r:id="rId202"/>
    <p:sldLayoutId id="2147487597" r:id="rId203"/>
    <p:sldLayoutId id="2147487598" r:id="rId204"/>
    <p:sldLayoutId id="2147487599" r:id="rId205"/>
    <p:sldLayoutId id="2147487600" r:id="rId206"/>
    <p:sldLayoutId id="2147487601" r:id="rId207"/>
    <p:sldLayoutId id="2147487602" r:id="rId208"/>
    <p:sldLayoutId id="2147487603" r:id="rId209"/>
    <p:sldLayoutId id="2147487604" r:id="rId210"/>
    <p:sldLayoutId id="2147487605" r:id="rId211"/>
    <p:sldLayoutId id="2147487606" r:id="rId212"/>
    <p:sldLayoutId id="2147487607" r:id="rId213"/>
    <p:sldLayoutId id="2147487608" r:id="rId214"/>
    <p:sldLayoutId id="2147487609" r:id="rId215"/>
    <p:sldLayoutId id="2147487610" r:id="rId216"/>
    <p:sldLayoutId id="2147487611" r:id="rId217"/>
    <p:sldLayoutId id="2147487612" r:id="rId218"/>
    <p:sldLayoutId id="2147487613" r:id="rId219"/>
    <p:sldLayoutId id="2147487614" r:id="rId220"/>
    <p:sldLayoutId id="2147487615" r:id="rId221"/>
    <p:sldLayoutId id="2147487616" r:id="rId222"/>
    <p:sldLayoutId id="2147487617" r:id="rId223"/>
    <p:sldLayoutId id="2147487618" r:id="rId224"/>
    <p:sldLayoutId id="2147487619" r:id="rId225"/>
    <p:sldLayoutId id="2147487620" r:id="rId226"/>
    <p:sldLayoutId id="2147487621" r:id="rId227"/>
    <p:sldLayoutId id="2147487622" r:id="rId228"/>
    <p:sldLayoutId id="2147487623" r:id="rId229"/>
    <p:sldLayoutId id="2147487624" r:id="rId230"/>
    <p:sldLayoutId id="2147487625" r:id="rId231"/>
    <p:sldLayoutId id="2147487626" r:id="rId232"/>
    <p:sldLayoutId id="2147487627" r:id="rId233"/>
    <p:sldLayoutId id="2147487628" r:id="rId234"/>
    <p:sldLayoutId id="2147487629" r:id="rId235"/>
    <p:sldLayoutId id="2147487630" r:id="rId236"/>
    <p:sldLayoutId id="2147487631" r:id="rId237"/>
    <p:sldLayoutId id="2147487632" r:id="rId238"/>
    <p:sldLayoutId id="2147487633" r:id="rId239"/>
    <p:sldLayoutId id="2147487637" r:id="rId240"/>
    <p:sldLayoutId id="2147487638" r:id="rId241"/>
    <p:sldLayoutId id="2147487639" r:id="rId242"/>
    <p:sldLayoutId id="2147487640" r:id="rId243"/>
    <p:sldLayoutId id="2147487641" r:id="rId244"/>
    <p:sldLayoutId id="2147487642" r:id="rId245"/>
    <p:sldLayoutId id="2147487643" r:id="rId246"/>
    <p:sldLayoutId id="2147487644" r:id="rId247"/>
    <p:sldLayoutId id="2147487645" r:id="rId248"/>
    <p:sldLayoutId id="2147487646" r:id="rId249"/>
    <p:sldLayoutId id="2147487647" r:id="rId250"/>
    <p:sldLayoutId id="2147487648" r:id="rId251"/>
    <p:sldLayoutId id="2147487649" r:id="rId252"/>
    <p:sldLayoutId id="2147487650" r:id="rId253"/>
    <p:sldLayoutId id="2147487651" r:id="rId254"/>
    <p:sldLayoutId id="2147487652" r:id="rId255"/>
    <p:sldLayoutId id="2147487653" r:id="rId256"/>
    <p:sldLayoutId id="2147487654" r:id="rId257"/>
    <p:sldLayoutId id="2147487655" r:id="rId258"/>
    <p:sldLayoutId id="2147487656" r:id="rId259"/>
    <p:sldLayoutId id="2147487657" r:id="rId260"/>
    <p:sldLayoutId id="2147487658" r:id="rId261"/>
    <p:sldLayoutId id="2147487659" r:id="rId262"/>
    <p:sldLayoutId id="2147487660" r:id="rId263"/>
    <p:sldLayoutId id="2147487661" r:id="rId264"/>
    <p:sldLayoutId id="2147487662" r:id="rId265"/>
    <p:sldLayoutId id="2147487663" r:id="rId266"/>
    <p:sldLayoutId id="2147487664" r:id="rId267"/>
    <p:sldLayoutId id="2147487665" r:id="rId268"/>
    <p:sldLayoutId id="2147487666" r:id="rId269"/>
    <p:sldLayoutId id="2147487667" r:id="rId270"/>
    <p:sldLayoutId id="2147487668" r:id="rId271"/>
    <p:sldLayoutId id="2147487669" r:id="rId272"/>
    <p:sldLayoutId id="2147487670" r:id="rId273"/>
    <p:sldLayoutId id="2147487671" r:id="rId274"/>
    <p:sldLayoutId id="2147487672" r:id="rId275"/>
    <p:sldLayoutId id="2147487673" r:id="rId276"/>
    <p:sldLayoutId id="2147487674" r:id="rId277"/>
    <p:sldLayoutId id="2147487675" r:id="rId278"/>
    <p:sldLayoutId id="2147487676" r:id="rId279"/>
    <p:sldLayoutId id="2147487677" r:id="rId280"/>
    <p:sldLayoutId id="2147487679" r:id="rId281"/>
    <p:sldLayoutId id="2147487680" r:id="rId282"/>
    <p:sldLayoutId id="2147487681" r:id="rId283"/>
    <p:sldLayoutId id="2147487682" r:id="rId284"/>
    <p:sldLayoutId id="2147487683" r:id="rId285"/>
    <p:sldLayoutId id="2147487684" r:id="rId286"/>
    <p:sldLayoutId id="2147487685" r:id="rId287"/>
    <p:sldLayoutId id="2147487686" r:id="rId288"/>
    <p:sldLayoutId id="2147487687" r:id="rId289"/>
    <p:sldLayoutId id="2147487688" r:id="rId290"/>
    <p:sldLayoutId id="2147487689" r:id="rId291"/>
    <p:sldLayoutId id="2147487690" r:id="rId292"/>
    <p:sldLayoutId id="2147487697" r:id="rId293"/>
    <p:sldLayoutId id="2147487698" r:id="rId294"/>
    <p:sldLayoutId id="2147487699" r:id="rId295"/>
    <p:sldLayoutId id="2147487700" r:id="rId296"/>
    <p:sldLayoutId id="2147487701" r:id="rId297"/>
    <p:sldLayoutId id="2147487703" r:id="rId298"/>
    <p:sldLayoutId id="2147487704" r:id="rId299"/>
    <p:sldLayoutId id="2147487705" r:id="rId300"/>
    <p:sldLayoutId id="2147487708" r:id="rId301"/>
    <p:sldLayoutId id="2147487709" r:id="rId302"/>
    <p:sldLayoutId id="2147487710" r:id="rId303"/>
    <p:sldLayoutId id="2147487711" r:id="rId304"/>
    <p:sldLayoutId id="2147487712" r:id="rId305"/>
    <p:sldLayoutId id="2147487713" r:id="rId306"/>
    <p:sldLayoutId id="2147487714" r:id="rId307"/>
    <p:sldLayoutId id="2147487715" r:id="rId308"/>
    <p:sldLayoutId id="2147487716" r:id="rId309"/>
    <p:sldLayoutId id="2147487717" r:id="rId310"/>
    <p:sldLayoutId id="2147487718" r:id="rId311"/>
    <p:sldLayoutId id="2147487719" r:id="rId312"/>
    <p:sldLayoutId id="2147487720" r:id="rId313"/>
    <p:sldLayoutId id="2147487721" r:id="rId314"/>
    <p:sldLayoutId id="2147487722" r:id="rId315"/>
    <p:sldLayoutId id="2147487723" r:id="rId316"/>
    <p:sldLayoutId id="2147487724" r:id="rId317"/>
    <p:sldLayoutId id="2147487725" r:id="rId318"/>
    <p:sldLayoutId id="2147487726" r:id="rId319"/>
    <p:sldLayoutId id="2147487727" r:id="rId320"/>
    <p:sldLayoutId id="2147487728" r:id="rId321"/>
    <p:sldLayoutId id="2147487729" r:id="rId322"/>
    <p:sldLayoutId id="2147487730" r:id="rId323"/>
    <p:sldLayoutId id="2147487731" r:id="rId324"/>
    <p:sldLayoutId id="2147487732" r:id="rId325"/>
    <p:sldLayoutId id="2147487733" r:id="rId326"/>
    <p:sldLayoutId id="2147487734" r:id="rId327"/>
    <p:sldLayoutId id="2147487735" r:id="rId328"/>
    <p:sldLayoutId id="2147487736" r:id="rId329"/>
    <p:sldLayoutId id="2147487737" r:id="rId330"/>
    <p:sldLayoutId id="2147487738" r:id="rId331"/>
    <p:sldLayoutId id="2147487739" r:id="rId332"/>
    <p:sldLayoutId id="2147487740" r:id="rId333"/>
    <p:sldLayoutId id="2147487741" r:id="rId334"/>
    <p:sldLayoutId id="2147487742" r:id="rId335"/>
    <p:sldLayoutId id="2147487743" r:id="rId336"/>
    <p:sldLayoutId id="2147487744" r:id="rId337"/>
    <p:sldLayoutId id="2147487745" r:id="rId338"/>
    <p:sldLayoutId id="2147487746" r:id="rId339"/>
    <p:sldLayoutId id="2147487747" r:id="rId340"/>
    <p:sldLayoutId id="2147487748" r:id="rId341"/>
    <p:sldLayoutId id="2147487749" r:id="rId342"/>
    <p:sldLayoutId id="2147487750" r:id="rId343"/>
    <p:sldLayoutId id="2147487751" r:id="rId344"/>
    <p:sldLayoutId id="2147487752" r:id="rId345"/>
    <p:sldLayoutId id="2147487753" r:id="rId346"/>
    <p:sldLayoutId id="2147487754" r:id="rId347"/>
    <p:sldLayoutId id="2147487755" r:id="rId348"/>
    <p:sldLayoutId id="2147487756" r:id="rId349"/>
    <p:sldLayoutId id="2147487757" r:id="rId350"/>
    <p:sldLayoutId id="2147487758" r:id="rId351"/>
    <p:sldLayoutId id="2147487759" r:id="rId352"/>
    <p:sldLayoutId id="2147487760" r:id="rId353"/>
    <p:sldLayoutId id="2147487761" r:id="rId354"/>
    <p:sldLayoutId id="2147487762" r:id="rId355"/>
    <p:sldLayoutId id="2147487763" r:id="rId356"/>
    <p:sldLayoutId id="2147487764" r:id="rId357"/>
    <p:sldLayoutId id="2147487765" r:id="rId358"/>
    <p:sldLayoutId id="2147487766" r:id="rId359"/>
    <p:sldLayoutId id="2147487767" r:id="rId360"/>
    <p:sldLayoutId id="2147487768" r:id="rId361"/>
    <p:sldLayoutId id="2147487769" r:id="rId362"/>
    <p:sldLayoutId id="2147487770" r:id="rId363"/>
    <p:sldLayoutId id="2147487771" r:id="rId364"/>
    <p:sldLayoutId id="2147487772" r:id="rId365"/>
    <p:sldLayoutId id="2147487773" r:id="rId366"/>
    <p:sldLayoutId id="2147487774" r:id="rId367"/>
    <p:sldLayoutId id="2147487775" r:id="rId368"/>
    <p:sldLayoutId id="2147487776" r:id="rId369"/>
    <p:sldLayoutId id="2147487777" r:id="rId370"/>
    <p:sldLayoutId id="2147487778" r:id="rId371"/>
    <p:sldLayoutId id="2147487779" r:id="rId372"/>
    <p:sldLayoutId id="2147487780" r:id="rId373"/>
    <p:sldLayoutId id="2147487781" r:id="rId374"/>
    <p:sldLayoutId id="2147487782" r:id="rId375"/>
    <p:sldLayoutId id="2147487783" r:id="rId376"/>
    <p:sldLayoutId id="2147487784" r:id="rId377"/>
    <p:sldLayoutId id="2147487785" r:id="rId378"/>
    <p:sldLayoutId id="2147487786" r:id="rId379"/>
    <p:sldLayoutId id="2147487787" r:id="rId380"/>
    <p:sldLayoutId id="2147487788" r:id="rId381"/>
    <p:sldLayoutId id="2147487789" r:id="rId382"/>
    <p:sldLayoutId id="2147487790" r:id="rId383"/>
    <p:sldLayoutId id="2147487791" r:id="rId384"/>
    <p:sldLayoutId id="2147487792" r:id="rId385"/>
    <p:sldLayoutId id="2147487793" r:id="rId386"/>
    <p:sldLayoutId id="2147487794" r:id="rId387"/>
    <p:sldLayoutId id="2147487795" r:id="rId388"/>
    <p:sldLayoutId id="2147487796" r:id="rId389"/>
    <p:sldLayoutId id="2147487797" r:id="rId390"/>
    <p:sldLayoutId id="2147487798" r:id="rId391"/>
    <p:sldLayoutId id="2147487799" r:id="rId392"/>
    <p:sldLayoutId id="2147487800" r:id="rId393"/>
    <p:sldLayoutId id="2147487801" r:id="rId394"/>
    <p:sldLayoutId id="2147487802" r:id="rId395"/>
    <p:sldLayoutId id="2147487803" r:id="rId396"/>
    <p:sldLayoutId id="2147487804" r:id="rId397"/>
    <p:sldLayoutId id="2147487805" r:id="rId398"/>
    <p:sldLayoutId id="2147487806" r:id="rId399"/>
    <p:sldLayoutId id="2147487807" r:id="rId400"/>
    <p:sldLayoutId id="2147487808" r:id="rId401"/>
    <p:sldLayoutId id="2147487809" r:id="rId402"/>
    <p:sldLayoutId id="2147487810" r:id="rId403"/>
    <p:sldLayoutId id="2147487811" r:id="rId404"/>
    <p:sldLayoutId id="2147487812" r:id="rId405"/>
    <p:sldLayoutId id="2147487813" r:id="rId406"/>
    <p:sldLayoutId id="2147487814" r:id="rId407"/>
    <p:sldLayoutId id="2147487815" r:id="rId408"/>
    <p:sldLayoutId id="2147487816" r:id="rId409"/>
    <p:sldLayoutId id="2147487817" r:id="rId410"/>
    <p:sldLayoutId id="2147487818" r:id="rId411"/>
    <p:sldLayoutId id="2147487819" r:id="rId412"/>
    <p:sldLayoutId id="2147487820" r:id="rId413"/>
    <p:sldLayoutId id="2147487821" r:id="rId414"/>
    <p:sldLayoutId id="2147487822" r:id="rId415"/>
    <p:sldLayoutId id="2147487823" r:id="rId416"/>
    <p:sldLayoutId id="2147487824" r:id="rId417"/>
    <p:sldLayoutId id="2147487825" r:id="rId418"/>
    <p:sldLayoutId id="2147487830" r:id="rId419"/>
    <p:sldLayoutId id="2147487843" r:id="rId420"/>
    <p:sldLayoutId id="2147487844" r:id="rId421"/>
    <p:sldLayoutId id="2147487845" r:id="rId422"/>
    <p:sldLayoutId id="2147487847" r:id="rId423"/>
    <p:sldLayoutId id="2147487848" r:id="rId424"/>
    <p:sldLayoutId id="2147487849" r:id="rId425"/>
    <p:sldLayoutId id="2147487850" r:id="rId426"/>
    <p:sldLayoutId id="2147487851" r:id="rId427"/>
    <p:sldLayoutId id="2147487852" r:id="rId428"/>
    <p:sldLayoutId id="2147487853" r:id="rId429"/>
    <p:sldLayoutId id="2147487854" r:id="rId430"/>
    <p:sldLayoutId id="2147487855" r:id="rId431"/>
    <p:sldLayoutId id="2147487856" r:id="rId432"/>
    <p:sldLayoutId id="2147487857" r:id="rId433"/>
    <p:sldLayoutId id="2147487858" r:id="rId434"/>
    <p:sldLayoutId id="2147487859" r:id="rId435"/>
    <p:sldLayoutId id="2147487860" r:id="rId436"/>
    <p:sldLayoutId id="2147487861" r:id="rId437"/>
    <p:sldLayoutId id="2147487862" r:id="rId438"/>
    <p:sldLayoutId id="2147487864" r:id="rId439"/>
    <p:sldLayoutId id="2147487865" r:id="rId440"/>
    <p:sldLayoutId id="2147487866" r:id="rId441"/>
    <p:sldLayoutId id="2147487867" r:id="rId442"/>
    <p:sldLayoutId id="2147487868" r:id="rId443"/>
    <p:sldLayoutId id="2147487869" r:id="rId444"/>
    <p:sldLayoutId id="2147487870" r:id="rId445"/>
    <p:sldLayoutId id="2147487871" r:id="rId446"/>
    <p:sldLayoutId id="2147487872" r:id="rId447"/>
    <p:sldLayoutId id="2147487873" r:id="rId448"/>
    <p:sldLayoutId id="2147487874" r:id="rId449"/>
    <p:sldLayoutId id="2147487875" r:id="rId450"/>
    <p:sldLayoutId id="2147487876" r:id="rId451"/>
    <p:sldLayoutId id="2147487877" r:id="rId452"/>
    <p:sldLayoutId id="2147487878" r:id="rId453"/>
    <p:sldLayoutId id="2147487879" r:id="rId454"/>
    <p:sldLayoutId id="2147487880" r:id="rId455"/>
    <p:sldLayoutId id="2147487881" r:id="rId456"/>
    <p:sldLayoutId id="2147487882" r:id="rId457"/>
    <p:sldLayoutId id="2147487883" r:id="rId458"/>
    <p:sldLayoutId id="2147487884" r:id="rId459"/>
    <p:sldLayoutId id="2147487885" r:id="rId460"/>
    <p:sldLayoutId id="2147487886" r:id="rId461"/>
    <p:sldLayoutId id="2147487887" r:id="rId462"/>
    <p:sldLayoutId id="2147487888" r:id="rId463"/>
    <p:sldLayoutId id="2147487889" r:id="rId464"/>
    <p:sldLayoutId id="2147487890" r:id="rId465"/>
    <p:sldLayoutId id="2147487891" r:id="rId466"/>
    <p:sldLayoutId id="2147487892" r:id="rId467"/>
    <p:sldLayoutId id="2147487893" r:id="rId468"/>
    <p:sldLayoutId id="2147487894" r:id="rId469"/>
    <p:sldLayoutId id="2147487895" r:id="rId470"/>
    <p:sldLayoutId id="2147487896" r:id="rId471"/>
    <p:sldLayoutId id="2147487897" r:id="rId472"/>
    <p:sldLayoutId id="2147487898" r:id="rId473"/>
    <p:sldLayoutId id="2147487899" r:id="rId474"/>
    <p:sldLayoutId id="2147487900" r:id="rId475"/>
    <p:sldLayoutId id="2147487901" r:id="rId476"/>
    <p:sldLayoutId id="2147487902" r:id="rId477"/>
    <p:sldLayoutId id="2147487903" r:id="rId478"/>
    <p:sldLayoutId id="2147487904" r:id="rId479"/>
    <p:sldLayoutId id="2147487905" r:id="rId480"/>
    <p:sldLayoutId id="2147487906" r:id="rId481"/>
    <p:sldLayoutId id="2147487907" r:id="rId482"/>
    <p:sldLayoutId id="2147487908" r:id="rId483"/>
    <p:sldLayoutId id="2147487909" r:id="rId484"/>
    <p:sldLayoutId id="2147487910" r:id="rId485"/>
    <p:sldLayoutId id="2147487911" r:id="rId486"/>
    <p:sldLayoutId id="2147487912" r:id="rId487"/>
    <p:sldLayoutId id="2147487913" r:id="rId488"/>
    <p:sldLayoutId id="2147487914" r:id="rId489"/>
    <p:sldLayoutId id="2147487915" r:id="rId490"/>
    <p:sldLayoutId id="2147487916" r:id="rId491"/>
    <p:sldLayoutId id="2147487917" r:id="rId492"/>
    <p:sldLayoutId id="2147487918" r:id="rId493"/>
    <p:sldLayoutId id="2147487919" r:id="rId494"/>
    <p:sldLayoutId id="2147487920" r:id="rId495"/>
    <p:sldLayoutId id="2147487921" r:id="rId496"/>
    <p:sldLayoutId id="2147487922" r:id="rId497"/>
    <p:sldLayoutId id="2147487926" r:id="rId498"/>
    <p:sldLayoutId id="2147487927" r:id="rId499"/>
    <p:sldLayoutId id="2147487928" r:id="rId500"/>
    <p:sldLayoutId id="2147487929" r:id="rId501"/>
    <p:sldLayoutId id="2147487930" r:id="rId502"/>
    <p:sldLayoutId id="2147487931" r:id="rId503"/>
    <p:sldLayoutId id="2147487932" r:id="rId504"/>
    <p:sldLayoutId id="2147487933" r:id="rId505"/>
    <p:sldLayoutId id="2147487934" r:id="rId506"/>
    <p:sldLayoutId id="2147487935" r:id="rId507"/>
    <p:sldLayoutId id="2147487936" r:id="rId508"/>
    <p:sldLayoutId id="2147487937" r:id="rId509"/>
    <p:sldLayoutId id="2147487938" r:id="rId510"/>
    <p:sldLayoutId id="2147487939" r:id="rId511"/>
    <p:sldLayoutId id="2147487940" r:id="rId512"/>
    <p:sldLayoutId id="2147487941" r:id="rId513"/>
    <p:sldLayoutId id="2147487942" r:id="rId514"/>
    <p:sldLayoutId id="2147487943" r:id="rId515"/>
    <p:sldLayoutId id="2147487944" r:id="rId516"/>
    <p:sldLayoutId id="2147487945" r:id="rId517"/>
    <p:sldLayoutId id="2147487946" r:id="rId518"/>
    <p:sldLayoutId id="2147487947" r:id="rId519"/>
    <p:sldLayoutId id="2147487948" r:id="rId520"/>
    <p:sldLayoutId id="2147487949" r:id="rId521"/>
    <p:sldLayoutId id="2147487950" r:id="rId522"/>
    <p:sldLayoutId id="2147487951" r:id="rId523"/>
    <p:sldLayoutId id="2147487952" r:id="rId524"/>
    <p:sldLayoutId id="2147487953" r:id="rId525"/>
    <p:sldLayoutId id="2147487954" r:id="rId526"/>
    <p:sldLayoutId id="2147487955" r:id="rId527"/>
    <p:sldLayoutId id="2147487956" r:id="rId528"/>
    <p:sldLayoutId id="2147487957" r:id="rId529"/>
    <p:sldLayoutId id="2147487958" r:id="rId530"/>
    <p:sldLayoutId id="2147487959" r:id="rId531"/>
    <p:sldLayoutId id="2147487960" r:id="rId532"/>
    <p:sldLayoutId id="2147487961" r:id="rId533"/>
    <p:sldLayoutId id="2147487962" r:id="rId534"/>
    <p:sldLayoutId id="2147487963" r:id="rId535"/>
    <p:sldLayoutId id="2147487964" r:id="rId536"/>
    <p:sldLayoutId id="2147487965" r:id="rId537"/>
    <p:sldLayoutId id="2147487966" r:id="rId538"/>
    <p:sldLayoutId id="2147487967" r:id="rId539"/>
    <p:sldLayoutId id="2147487968" r:id="rId540"/>
    <p:sldLayoutId id="2147487969" r:id="rId541"/>
    <p:sldLayoutId id="2147487974" r:id="rId542"/>
    <p:sldLayoutId id="2147487981" r:id="rId543"/>
    <p:sldLayoutId id="2147487982" r:id="rId544"/>
    <p:sldLayoutId id="2147487983" r:id="rId545"/>
    <p:sldLayoutId id="2147487984" r:id="rId546"/>
    <p:sldLayoutId id="2147487985" r:id="rId547"/>
    <p:sldLayoutId id="2147487986" r:id="rId548"/>
    <p:sldLayoutId id="2147487987" r:id="rId549"/>
    <p:sldLayoutId id="2147487988" r:id="rId550"/>
    <p:sldLayoutId id="2147487989" r:id="rId551"/>
    <p:sldLayoutId id="2147487990" r:id="rId552"/>
    <p:sldLayoutId id="2147487991" r:id="rId553"/>
    <p:sldLayoutId id="2147487992" r:id="rId554"/>
    <p:sldLayoutId id="2147487993" r:id="rId555"/>
    <p:sldLayoutId id="2147487994" r:id="rId556"/>
    <p:sldLayoutId id="2147487995" r:id="rId557"/>
    <p:sldLayoutId id="2147487996" r:id="rId558"/>
    <p:sldLayoutId id="2147487997" r:id="rId559"/>
    <p:sldLayoutId id="2147487998" r:id="rId560"/>
    <p:sldLayoutId id="2147487999" r:id="rId561"/>
    <p:sldLayoutId id="2147488000" r:id="rId562"/>
    <p:sldLayoutId id="2147488001" r:id="rId563"/>
    <p:sldLayoutId id="2147488002" r:id="rId564"/>
    <p:sldLayoutId id="2147488003" r:id="rId565"/>
    <p:sldLayoutId id="2147488004" r:id="rId566"/>
    <p:sldLayoutId id="2147488005" r:id="rId567"/>
    <p:sldLayoutId id="2147488006" r:id="rId568"/>
    <p:sldLayoutId id="2147488007" r:id="rId569"/>
    <p:sldLayoutId id="2147488008" r:id="rId570"/>
    <p:sldLayoutId id="2147488009" r:id="rId571"/>
    <p:sldLayoutId id="2147488010" r:id="rId572"/>
    <p:sldLayoutId id="2147488011" r:id="rId573"/>
    <p:sldLayoutId id="2147488012" r:id="rId574"/>
    <p:sldLayoutId id="2147488013" r:id="rId575"/>
    <p:sldLayoutId id="2147488014" r:id="rId576"/>
    <p:sldLayoutId id="2147488015" r:id="rId577"/>
    <p:sldLayoutId id="2147488016" r:id="rId578"/>
    <p:sldLayoutId id="2147488017" r:id="rId579"/>
    <p:sldLayoutId id="2147488018" r:id="rId580"/>
    <p:sldLayoutId id="2147488019" r:id="rId581"/>
    <p:sldLayoutId id="2147488020" r:id="rId582"/>
    <p:sldLayoutId id="2147488021" r:id="rId583"/>
    <p:sldLayoutId id="2147488022" r:id="rId584"/>
    <p:sldLayoutId id="2147488023" r:id="rId585"/>
    <p:sldLayoutId id="2147488024" r:id="rId586"/>
    <p:sldLayoutId id="2147488026" r:id="rId587"/>
    <p:sldLayoutId id="2147488027" r:id="rId588"/>
    <p:sldLayoutId id="2147488028" r:id="rId589"/>
    <p:sldLayoutId id="2147488029" r:id="rId590"/>
    <p:sldLayoutId id="2147488030" r:id="rId591"/>
    <p:sldLayoutId id="2147488031" r:id="rId592"/>
    <p:sldLayoutId id="2147488032" r:id="rId593"/>
    <p:sldLayoutId id="2147488033" r:id="rId594"/>
    <p:sldLayoutId id="2147488034" r:id="rId595"/>
    <p:sldLayoutId id="2147488035" r:id="rId596"/>
    <p:sldLayoutId id="2147488036" r:id="rId597"/>
    <p:sldLayoutId id="2147488037" r:id="rId598"/>
    <p:sldLayoutId id="2147488038" r:id="rId599"/>
    <p:sldLayoutId id="2147488039" r:id="rId600"/>
    <p:sldLayoutId id="2147488040" r:id="rId601"/>
    <p:sldLayoutId id="2147488041" r:id="rId602"/>
    <p:sldLayoutId id="2147488042" r:id="rId603"/>
    <p:sldLayoutId id="2147488043" r:id="rId604"/>
    <p:sldLayoutId id="2147488044" r:id="rId605"/>
    <p:sldLayoutId id="2147488045" r:id="rId606"/>
    <p:sldLayoutId id="2147488046" r:id="rId607"/>
    <p:sldLayoutId id="2147488047" r:id="rId608"/>
    <p:sldLayoutId id="2147488048" r:id="rId609"/>
    <p:sldLayoutId id="2147488049" r:id="rId610"/>
    <p:sldLayoutId id="2147488050" r:id="rId611"/>
    <p:sldLayoutId id="2147488051" r:id="rId612"/>
    <p:sldLayoutId id="2147488052" r:id="rId613"/>
    <p:sldLayoutId id="2147488053" r:id="rId614"/>
    <p:sldLayoutId id="2147488054" r:id="rId615"/>
    <p:sldLayoutId id="2147488055" r:id="rId616"/>
    <p:sldLayoutId id="2147488056" r:id="rId617"/>
    <p:sldLayoutId id="2147488057" r:id="rId618"/>
    <p:sldLayoutId id="2147488058" r:id="rId619"/>
    <p:sldLayoutId id="2147488059" r:id="rId620"/>
    <p:sldLayoutId id="2147488060" r:id="rId621"/>
    <p:sldLayoutId id="2147488061" r:id="rId622"/>
    <p:sldLayoutId id="2147488062" r:id="rId623"/>
    <p:sldLayoutId id="2147488063" r:id="rId624"/>
    <p:sldLayoutId id="2147488064" r:id="rId625"/>
    <p:sldLayoutId id="2147488065" r:id="rId626"/>
    <p:sldLayoutId id="2147488066" r:id="rId627"/>
    <p:sldLayoutId id="2147488067" r:id="rId628"/>
    <p:sldLayoutId id="2147488068" r:id="rId629"/>
    <p:sldLayoutId id="2147488069" r:id="rId630"/>
    <p:sldLayoutId id="2147488070" r:id="rId631"/>
    <p:sldLayoutId id="2147488071" r:id="rId632"/>
    <p:sldLayoutId id="2147488072" r:id="rId633"/>
    <p:sldLayoutId id="2147488073" r:id="rId634"/>
    <p:sldLayoutId id="2147488074" r:id="rId635"/>
    <p:sldLayoutId id="2147488075" r:id="rId636"/>
    <p:sldLayoutId id="2147488076" r:id="rId637"/>
    <p:sldLayoutId id="2147488077" r:id="rId638"/>
    <p:sldLayoutId id="2147488078" r:id="rId63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76.xml"/></Relationships>
</file>

<file path=ppt/slides/_rels/slide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s://redcap.healthlnk.org"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diagramLayout" Target="../diagrams/layout1.xml"/><Relationship Id="rId7" Type="http://schemas.openxmlformats.org/officeDocument/2006/relationships/image" Target="../media/image96.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99.svg"/><Relationship Id="rId4" Type="http://schemas.openxmlformats.org/officeDocument/2006/relationships/diagramQuickStyle" Target="../diagrams/quickStyle1.xml"/><Relationship Id="rId9" Type="http://schemas.openxmlformats.org/officeDocument/2006/relationships/image" Target="../media/image9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03.svg"/><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379.xml"/></Relationships>
</file>

<file path=ppt/slides/_rels/slide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hyperlink" Target="mailto:info@ilpqc.org"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mailto:redcap@healthlnk.org" TargetMode="External"/><Relationship Id="rId2" Type="http://schemas.openxmlformats.org/officeDocument/2006/relationships/hyperlink" Target="https://redcap.healthlnk.org" TargetMode="External"/><Relationship Id="rId1" Type="http://schemas.openxmlformats.org/officeDocument/2006/relationships/slideLayout" Target="../slideLayouts/slideLayout5.xml"/><Relationship Id="rId5" Type="http://schemas.openxmlformats.org/officeDocument/2006/relationships/image" Target="../media/image92.png"/><Relationship Id="rId4" Type="http://schemas.openxmlformats.org/officeDocument/2006/relationships/hyperlink" Target="mailto:info@ilpqc.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23261" y="1903320"/>
            <a:ext cx="6404329" cy="2618177"/>
          </a:xfrm>
        </p:spPr>
        <p:txBody>
          <a:bodyPr/>
          <a:lstStyle/>
          <a:p>
            <a:pPr algn="ctr"/>
            <a:r>
              <a:rPr lang="en-US" dirty="0">
                <a:solidFill>
                  <a:schemeClr val="accent1"/>
                </a:solidFill>
                <a:ea typeface="+mj-lt"/>
                <a:cs typeface="+mj-lt"/>
              </a:rPr>
              <a:t>ESSI Initiative:</a:t>
            </a:r>
            <a:r>
              <a:rPr lang="en-US" dirty="0">
                <a:ea typeface="+mj-lt"/>
                <a:cs typeface="+mj-lt"/>
              </a:rPr>
              <a:t> </a:t>
            </a:r>
            <a:br>
              <a:rPr lang="en-US" dirty="0">
                <a:ea typeface="+mj-lt"/>
                <a:cs typeface="+mj-lt"/>
              </a:rPr>
            </a:br>
            <a:r>
              <a:rPr lang="en-US" dirty="0">
                <a:ea typeface="+mj-lt"/>
                <a:cs typeface="+mj-lt"/>
              </a:rPr>
              <a:t>Data Training Webinar</a:t>
            </a:r>
            <a:br>
              <a:rPr lang="en-US" sz="3600" dirty="0">
                <a:ea typeface="+mj-lt"/>
                <a:cs typeface="+mj-lt"/>
              </a:rPr>
            </a:br>
            <a:endParaRPr lang="en-US" sz="3600" b="0">
              <a:cs typeface="Calibri"/>
            </a:endParaRPr>
          </a:p>
        </p:txBody>
      </p:sp>
      <p:pic>
        <p:nvPicPr>
          <p:cNvPr id="2" name="Picture 1" descr="Simple computer illustration">
            <a:extLst>
              <a:ext uri="{FF2B5EF4-FFF2-40B4-BE49-F238E27FC236}">
                <a16:creationId xmlns:a16="http://schemas.microsoft.com/office/drawing/2014/main" id="{0D7C69D0-240C-8322-D521-66F461EE341B}"/>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515724" y="3973463"/>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dirty="0">
                <a:ea typeface="+mn-lt"/>
                <a:cs typeface="+mn-lt"/>
              </a:rPr>
              <a:t> 12:00pm</a:t>
            </a:r>
            <a:endParaRPr lang="en-US"/>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A95671B-3CC6-4792-9114-B74FAEA224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85E68-E425-25E8-B412-38FE57A548E8}"/>
              </a:ext>
            </a:extLst>
          </p:cNvPr>
          <p:cNvSpPr>
            <a:spLocks noGrp="1"/>
          </p:cNvSpPr>
          <p:nvPr>
            <p:ph type="title"/>
          </p:nvPr>
        </p:nvSpPr>
        <p:spPr>
          <a:xfrm>
            <a:off x="1008184" y="174032"/>
            <a:ext cx="10175631" cy="1111843"/>
          </a:xfrm>
        </p:spPr>
        <p:txBody>
          <a:bodyPr anchor="ctr">
            <a:normAutofit/>
          </a:bodyPr>
          <a:lstStyle/>
          <a:p>
            <a:pPr algn="ctr"/>
            <a:r>
              <a:rPr lang="en-US" sz="4000" dirty="0" err="1">
                <a:ea typeface="Lato Medium"/>
                <a:cs typeface="Lato Medium"/>
              </a:rPr>
              <a:t>REDCap</a:t>
            </a:r>
            <a:r>
              <a:rPr lang="en-US" sz="4000" dirty="0">
                <a:ea typeface="Lato Medium"/>
                <a:cs typeface="Lato Medium"/>
              </a:rPr>
              <a:t> Interface Overview</a:t>
            </a:r>
          </a:p>
        </p:txBody>
      </p:sp>
      <p:sp>
        <p:nvSpPr>
          <p:cNvPr id="3" name="Content Placeholder 2">
            <a:extLst>
              <a:ext uri="{FF2B5EF4-FFF2-40B4-BE49-F238E27FC236}">
                <a16:creationId xmlns:a16="http://schemas.microsoft.com/office/drawing/2014/main" id="{34B6AF32-4323-7B5C-9857-C6582CF10CDF}"/>
              </a:ext>
            </a:extLst>
          </p:cNvPr>
          <p:cNvSpPr>
            <a:spLocks noGrp="1"/>
          </p:cNvSpPr>
          <p:nvPr>
            <p:ph idx="1"/>
          </p:nvPr>
        </p:nvSpPr>
        <p:spPr>
          <a:xfrm>
            <a:off x="1008184" y="1459907"/>
            <a:ext cx="10175630" cy="767904"/>
          </a:xfrm>
        </p:spPr>
        <p:txBody>
          <a:bodyPr vert="horz" lIns="91440" tIns="45720" rIns="91440" bIns="45720" rtlCol="0" anchor="ctr">
            <a:normAutofit/>
          </a:bodyPr>
          <a:lstStyle/>
          <a:p>
            <a:pPr marL="0" indent="0" algn="ctr">
              <a:buNone/>
            </a:pPr>
            <a:r>
              <a:rPr lang="en-US" sz="2800" dirty="0" err="1">
                <a:ea typeface="+mn-lt"/>
                <a:cs typeface="+mn-lt"/>
              </a:rPr>
              <a:t>REDCap</a:t>
            </a:r>
            <a:r>
              <a:rPr lang="en-US" sz="2800" dirty="0">
                <a:ea typeface="+mn-lt"/>
                <a:cs typeface="+mn-lt"/>
              </a:rPr>
              <a:t> Log In Page </a:t>
            </a:r>
            <a:r>
              <a:rPr lang="en-US" sz="2800" dirty="0">
                <a:ea typeface="+mn-lt"/>
                <a:cs typeface="+mn-lt"/>
                <a:hlinkClick r:id="rId2"/>
              </a:rPr>
              <a:t>https://redcap.healthlnk.org</a:t>
            </a:r>
            <a:endParaRPr lang="en-US" sz="2800" dirty="0"/>
          </a:p>
        </p:txBody>
      </p:sp>
      <p:pic>
        <p:nvPicPr>
          <p:cNvPr id="6" name="Picture 5" descr="A screenshot of a login box&#10;&#10;Description automatically generated">
            <a:extLst>
              <a:ext uri="{FF2B5EF4-FFF2-40B4-BE49-F238E27FC236}">
                <a16:creationId xmlns:a16="http://schemas.microsoft.com/office/drawing/2014/main" id="{34AF0CA7-50BF-675D-7E8F-BB046F8A7472}"/>
              </a:ext>
            </a:extLst>
          </p:cNvPr>
          <p:cNvPicPr>
            <a:picLocks noChangeAspect="1"/>
          </p:cNvPicPr>
          <p:nvPr/>
        </p:nvPicPr>
        <p:blipFill>
          <a:blip r:embed="rId3"/>
          <a:stretch>
            <a:fillRect/>
          </a:stretch>
        </p:blipFill>
        <p:spPr>
          <a:xfrm>
            <a:off x="1003899" y="2160734"/>
            <a:ext cx="10508782" cy="4632638"/>
          </a:xfrm>
          <a:prstGeom prst="rect">
            <a:avLst/>
          </a:prstGeom>
        </p:spPr>
      </p:pic>
      <p:sp>
        <p:nvSpPr>
          <p:cNvPr id="5" name="Footer Placeholder 4">
            <a:extLst>
              <a:ext uri="{FF2B5EF4-FFF2-40B4-BE49-F238E27FC236}">
                <a16:creationId xmlns:a16="http://schemas.microsoft.com/office/drawing/2014/main" id="{445DA9CE-D94D-1338-0208-AABBD67843FD}"/>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731D407B-9DCA-7CFB-384C-930FEA6C9655}"/>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10</a:t>
            </a:fld>
            <a:endParaRPr lang="en-US"/>
          </a:p>
        </p:txBody>
      </p:sp>
    </p:spTree>
    <p:extLst>
      <p:ext uri="{BB962C8B-B14F-4D97-AF65-F5344CB8AC3E}">
        <p14:creationId xmlns:p14="http://schemas.microsoft.com/office/powerpoint/2010/main" val="1190154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9FA61-332B-9147-CBEF-669C83839D2A}"/>
              </a:ext>
            </a:extLst>
          </p:cNvPr>
          <p:cNvSpPr>
            <a:spLocks noGrp="1"/>
          </p:cNvSpPr>
          <p:nvPr>
            <p:ph type="title"/>
          </p:nvPr>
        </p:nvSpPr>
        <p:spPr>
          <a:noFill/>
        </p:spPr>
        <p:txBody>
          <a:bodyPr/>
          <a:lstStyle/>
          <a:p>
            <a:r>
              <a:rPr lang="en-US" err="1">
                <a:ea typeface="Lato Medium"/>
                <a:cs typeface="Lato Medium"/>
              </a:rPr>
              <a:t>REDCap</a:t>
            </a:r>
            <a:r>
              <a:rPr lang="en-US" dirty="0">
                <a:ea typeface="Lato Medium"/>
                <a:cs typeface="Lato Medium"/>
              </a:rPr>
              <a:t> Interface Overview</a:t>
            </a:r>
          </a:p>
        </p:txBody>
      </p:sp>
      <p:pic>
        <p:nvPicPr>
          <p:cNvPr id="6" name="Content Placeholder 5" descr="A screenshot of a web page&#10;&#10;Description automatically generated">
            <a:extLst>
              <a:ext uri="{FF2B5EF4-FFF2-40B4-BE49-F238E27FC236}">
                <a16:creationId xmlns:a16="http://schemas.microsoft.com/office/drawing/2014/main" id="{AA0A5014-B86C-03A4-2B39-1218D9BF9424}"/>
              </a:ext>
            </a:extLst>
          </p:cNvPr>
          <p:cNvPicPr>
            <a:picLocks noGrp="1" noChangeAspect="1"/>
          </p:cNvPicPr>
          <p:nvPr>
            <p:ph idx="1"/>
          </p:nvPr>
        </p:nvPicPr>
        <p:blipFill>
          <a:blip r:embed="rId2"/>
          <a:stretch>
            <a:fillRect/>
          </a:stretch>
        </p:blipFill>
        <p:spPr>
          <a:xfrm>
            <a:off x="670735" y="1609965"/>
            <a:ext cx="7888795" cy="4351338"/>
          </a:xfrm>
        </p:spPr>
      </p:pic>
      <p:sp>
        <p:nvSpPr>
          <p:cNvPr id="4" name="Slide Number Placeholder 3">
            <a:extLst>
              <a:ext uri="{FF2B5EF4-FFF2-40B4-BE49-F238E27FC236}">
                <a16:creationId xmlns:a16="http://schemas.microsoft.com/office/drawing/2014/main" id="{7C79C743-6E25-FC32-2347-F776ACBD1518}"/>
              </a:ext>
            </a:extLst>
          </p:cNvPr>
          <p:cNvSpPr>
            <a:spLocks noGrp="1"/>
          </p:cNvSpPr>
          <p:nvPr>
            <p:ph type="sldNum" sz="quarter" idx="10"/>
          </p:nvPr>
        </p:nvSpPr>
        <p:spPr/>
        <p:txBody>
          <a:bodyPr/>
          <a:lstStyle/>
          <a:p>
            <a:fld id="{97033E4B-E3EB-3D46-B2D8-3159663620FA}" type="slidenum">
              <a:rPr lang="en-US" smtClean="0"/>
              <a:pPr/>
              <a:t>11</a:t>
            </a:fld>
            <a:endParaRPr lang="en-US"/>
          </a:p>
        </p:txBody>
      </p:sp>
      <p:sp>
        <p:nvSpPr>
          <p:cNvPr id="5" name="Footer Placeholder 4">
            <a:extLst>
              <a:ext uri="{FF2B5EF4-FFF2-40B4-BE49-F238E27FC236}">
                <a16:creationId xmlns:a16="http://schemas.microsoft.com/office/drawing/2014/main" id="{1F0A07CE-6EF3-579E-D056-6D03569832F8}"/>
              </a:ext>
            </a:extLst>
          </p:cNvPr>
          <p:cNvSpPr>
            <a:spLocks noGrp="1"/>
          </p:cNvSpPr>
          <p:nvPr>
            <p:ph type="ftr" sz="quarter" idx="11"/>
          </p:nvPr>
        </p:nvSpPr>
        <p:spPr/>
        <p:txBody>
          <a:bodyPr/>
          <a:lstStyle/>
          <a:p>
            <a:pPr algn="l"/>
            <a:r>
              <a:rPr lang="en-US"/>
              <a:t>Illinois Perinatal Quality Collaborative</a:t>
            </a:r>
          </a:p>
        </p:txBody>
      </p:sp>
      <p:sp>
        <p:nvSpPr>
          <p:cNvPr id="7" name="Oval 6">
            <a:extLst>
              <a:ext uri="{FF2B5EF4-FFF2-40B4-BE49-F238E27FC236}">
                <a16:creationId xmlns:a16="http://schemas.microsoft.com/office/drawing/2014/main" id="{AE61B84F-62BA-9F35-1E68-ADB14A45DC6E}"/>
              </a:ext>
            </a:extLst>
          </p:cNvPr>
          <p:cNvSpPr/>
          <p:nvPr/>
        </p:nvSpPr>
        <p:spPr>
          <a:xfrm>
            <a:off x="1917221" y="1498929"/>
            <a:ext cx="1480868" cy="632604"/>
          </a:xfrm>
          <a:prstGeom prst="ellipse">
            <a:avLst/>
          </a:pr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756675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screenshot of a computer screen&#10;&#10;Description automatically generated">
            <a:extLst>
              <a:ext uri="{FF2B5EF4-FFF2-40B4-BE49-F238E27FC236}">
                <a16:creationId xmlns:a16="http://schemas.microsoft.com/office/drawing/2014/main" id="{5C4A6469-2D7A-B4A3-0937-8008F2A6F29A}"/>
              </a:ext>
            </a:extLst>
          </p:cNvPr>
          <p:cNvPicPr>
            <a:picLocks noGrp="1" noChangeAspect="1"/>
          </p:cNvPicPr>
          <p:nvPr>
            <p:ph idx="1"/>
          </p:nvPr>
        </p:nvPicPr>
        <p:blipFill rotWithShape="1">
          <a:blip r:embed="rId2">
            <a:extLst>
              <a:ext uri="{28A0092B-C50C-407E-A947-70E740481C1C}">
                <a14:useLocalDpi xmlns:a14="http://schemas.microsoft.com/office/drawing/2010/main"/>
              </a:ext>
            </a:extLst>
          </a:blip>
          <a:srcRect r="4446" b="1"/>
          <a:stretch/>
        </p:blipFill>
        <p:spPr>
          <a:xfrm>
            <a:off x="20" y="10"/>
            <a:ext cx="12191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235EBB-D9A1-2612-4FF2-345127488ED5}"/>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lnSpc>
                <a:spcPct val="90000"/>
              </a:lnSpc>
            </a:pPr>
            <a:r>
              <a:rPr lang="en-US" dirty="0">
                <a:ea typeface="+mj-ea"/>
                <a:cs typeface="+mj-cs"/>
              </a:rPr>
              <a:t>Participating in multiple ILPQC Initiatives?</a:t>
            </a:r>
            <a:endParaRPr lang="en-US" dirty="0">
              <a:ea typeface="Calibri"/>
              <a:cs typeface="Calibri"/>
            </a:endParaRP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7EBF76B5-564B-1605-AA62-4B457995CC4B}"/>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defTabSz="457200">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FD0B2B5C-5571-4663-8425-BE77F226F2A5}"/>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defTabSz="457200">
              <a:spcAft>
                <a:spcPts val="600"/>
              </a:spcAft>
            </a:pPr>
            <a:fld id="{97033E4B-E3EB-3D46-B2D8-3159663620FA}" type="slidenum">
              <a:rPr lang="en-US">
                <a:solidFill>
                  <a:srgbClr val="FFFFFF"/>
                </a:solidFill>
              </a:rPr>
              <a:pPr defTabSz="457200">
                <a:spcAft>
                  <a:spcPts val="600"/>
                </a:spcAft>
              </a:pPr>
              <a:t>12</a:t>
            </a:fld>
            <a:endParaRPr lang="en-US">
              <a:solidFill>
                <a:srgbClr val="FFFFFF"/>
              </a:solidFill>
            </a:endParaRPr>
          </a:p>
        </p:txBody>
      </p:sp>
    </p:spTree>
    <p:extLst>
      <p:ext uri="{BB962C8B-B14F-4D97-AF65-F5344CB8AC3E}">
        <p14:creationId xmlns:p14="http://schemas.microsoft.com/office/powerpoint/2010/main" val="1323624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25AA4-4B7A-BEC8-4E8D-ADD4200530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BED8CA-F754-E03C-D9CA-FEC2EE4D194D}"/>
              </a:ext>
            </a:extLst>
          </p:cNvPr>
          <p:cNvSpPr>
            <a:spLocks noGrp="1"/>
          </p:cNvSpPr>
          <p:nvPr>
            <p:ph type="title"/>
          </p:nvPr>
        </p:nvSpPr>
        <p:spPr>
          <a:xfrm>
            <a:off x="1398933" y="831145"/>
            <a:ext cx="9365380" cy="2014679"/>
          </a:xfrm>
        </p:spPr>
        <p:txBody>
          <a:bodyPr/>
          <a:lstStyle/>
          <a:p>
            <a:r>
              <a:rPr lang="en-US" dirty="0">
                <a:solidFill>
                  <a:srgbClr val="1C498B"/>
                </a:solidFill>
                <a:ea typeface="+mj-lt"/>
                <a:cs typeface="+mj-lt"/>
              </a:rPr>
              <a:t>ILPQC ESSI DATA FORMS OVERVIEW</a:t>
            </a:r>
            <a:endParaRPr lang="en-US" dirty="0"/>
          </a:p>
        </p:txBody>
      </p:sp>
      <p:sp>
        <p:nvSpPr>
          <p:cNvPr id="3" name="Subtitle 2">
            <a:extLst>
              <a:ext uri="{FF2B5EF4-FFF2-40B4-BE49-F238E27FC236}">
                <a16:creationId xmlns:a16="http://schemas.microsoft.com/office/drawing/2014/main" id="{745EDF40-9CE2-84AF-D1E4-349419FA3329}"/>
              </a:ext>
            </a:extLst>
          </p:cNvPr>
          <p:cNvSpPr>
            <a:spLocks noGrp="1"/>
          </p:cNvSpPr>
          <p:nvPr>
            <p:ph type="subTitle" idx="1"/>
          </p:nvPr>
        </p:nvSpPr>
        <p:spPr/>
        <p:txBody>
          <a:bodyPr vert="horz" lIns="91440" tIns="45720" rIns="91440" bIns="45720" rtlCol="0" anchor="t">
            <a:noAutofit/>
          </a:bodyPr>
          <a:lstStyle/>
          <a:p>
            <a:endParaRPr lang="en-US" dirty="0"/>
          </a:p>
        </p:txBody>
      </p:sp>
      <p:sp>
        <p:nvSpPr>
          <p:cNvPr id="4" name="TextBox 3">
            <a:extLst>
              <a:ext uri="{FF2B5EF4-FFF2-40B4-BE49-F238E27FC236}">
                <a16:creationId xmlns:a16="http://schemas.microsoft.com/office/drawing/2014/main" id="{F6DC84FD-DFEE-DC99-8F44-2B1041465162}"/>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1648191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ea typeface="Lato Medium"/>
                <a:cs typeface="Lato Medium"/>
              </a:rPr>
              <a:t> Two ESSI Data Forms</a:t>
            </a:r>
            <a:endParaRPr lang="en-US" dirty="0"/>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nvPr>
        </p:nvGraphicFramePr>
        <p:xfrm>
          <a:off x="609600" y="1544774"/>
          <a:ext cx="10972800" cy="4811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46" name="Graphic 45" descr="Hospital with solid fill">
            <a:extLst>
              <a:ext uri="{FF2B5EF4-FFF2-40B4-BE49-F238E27FC236}">
                <a16:creationId xmlns:a16="http://schemas.microsoft.com/office/drawing/2014/main" id="{5E04828F-545E-7B88-1CDE-A6B8BD1213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7328" y="1548442"/>
            <a:ext cx="914400" cy="914400"/>
          </a:xfrm>
          <a:prstGeom prst="rect">
            <a:avLst/>
          </a:prstGeom>
        </p:spPr>
      </p:pic>
      <p:pic>
        <p:nvPicPr>
          <p:cNvPr id="47" name="Graphic 46" descr="Baby with solid fill">
            <a:extLst>
              <a:ext uri="{FF2B5EF4-FFF2-40B4-BE49-F238E27FC236}">
                <a16:creationId xmlns:a16="http://schemas.microsoft.com/office/drawing/2014/main" id="{C13E9A9E-F1C1-0883-4F89-871783B27D2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72687" y="1591574"/>
            <a:ext cx="914400" cy="914400"/>
          </a:xfrm>
          <a:prstGeom prst="rect">
            <a:avLst/>
          </a:prstGeom>
        </p:spPr>
      </p:pic>
    </p:spTree>
    <p:extLst>
      <p:ext uri="{BB962C8B-B14F-4D97-AF65-F5344CB8AC3E}">
        <p14:creationId xmlns:p14="http://schemas.microsoft.com/office/powerpoint/2010/main" val="2701760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96CCD-346E-ACCB-3B41-54198AC298C3}"/>
              </a:ext>
            </a:extLst>
          </p:cNvPr>
          <p:cNvSpPr>
            <a:spLocks noGrp="1"/>
          </p:cNvSpPr>
          <p:nvPr>
            <p:ph type="title"/>
          </p:nvPr>
        </p:nvSpPr>
        <p:spPr/>
        <p:txBody>
          <a:bodyPr/>
          <a:lstStyle/>
          <a:p>
            <a:r>
              <a:rPr lang="en-US">
                <a:ea typeface="Lato Medium"/>
                <a:cs typeface="Lato Medium"/>
              </a:rPr>
              <a:t>Structure Measures</a:t>
            </a:r>
            <a:endParaRPr lang="en-US"/>
          </a:p>
        </p:txBody>
      </p:sp>
      <p:sp>
        <p:nvSpPr>
          <p:cNvPr id="3" name="Content Placeholder 2">
            <a:extLst>
              <a:ext uri="{FF2B5EF4-FFF2-40B4-BE49-F238E27FC236}">
                <a16:creationId xmlns:a16="http://schemas.microsoft.com/office/drawing/2014/main" id="{3D116CC5-783C-05ED-E59D-C20917A3F977}"/>
              </a:ext>
            </a:extLst>
          </p:cNvPr>
          <p:cNvSpPr>
            <a:spLocks noGrp="1"/>
          </p:cNvSpPr>
          <p:nvPr>
            <p:ph idx="1"/>
          </p:nvPr>
        </p:nvSpPr>
        <p:spPr>
          <a:xfrm>
            <a:off x="609600" y="1527969"/>
            <a:ext cx="10972800" cy="4351338"/>
          </a:xfrm>
        </p:spPr>
        <p:txBody>
          <a:bodyPr vert="horz" lIns="91440" tIns="45720" rIns="91440" bIns="45720" rtlCol="0" anchor="t">
            <a:noAutofit/>
          </a:bodyPr>
          <a:lstStyle/>
          <a:p>
            <a:r>
              <a:rPr lang="en-US" sz="2800">
                <a:ea typeface="+mn-lt"/>
                <a:cs typeface="+mn-lt"/>
              </a:rPr>
              <a:t>Structure measures are used to assess infrastructure of </a:t>
            </a:r>
            <a:r>
              <a:rPr lang="en-US" sz="2800" b="1" u="sng">
                <a:ea typeface="+mn-lt"/>
                <a:cs typeface="+mn-lt"/>
              </a:rPr>
              <a:t>capacity, systems, and processes</a:t>
            </a:r>
            <a:r>
              <a:rPr lang="en-US" sz="2800">
                <a:ea typeface="+mn-lt"/>
                <a:cs typeface="+mn-lt"/>
              </a:rPr>
              <a:t> (cms.gov)</a:t>
            </a:r>
          </a:p>
          <a:p>
            <a:endParaRPr lang="en-US" sz="2800" dirty="0">
              <a:ea typeface="+mn-lt"/>
              <a:cs typeface="+mn-lt"/>
            </a:endParaRPr>
          </a:p>
          <a:p>
            <a:endParaRPr lang="en-US" dirty="0">
              <a:ea typeface="+mn-lt"/>
              <a:cs typeface="+mn-lt"/>
            </a:endParaRPr>
          </a:p>
        </p:txBody>
      </p:sp>
      <p:sp>
        <p:nvSpPr>
          <p:cNvPr id="4" name="Slide Number Placeholder 3">
            <a:extLst>
              <a:ext uri="{FF2B5EF4-FFF2-40B4-BE49-F238E27FC236}">
                <a16:creationId xmlns:a16="http://schemas.microsoft.com/office/drawing/2014/main" id="{A36A6B9B-288F-F01B-2932-86AF39CBB43C}"/>
              </a:ext>
            </a:extLst>
          </p:cNvPr>
          <p:cNvSpPr>
            <a:spLocks noGrp="1"/>
          </p:cNvSpPr>
          <p:nvPr>
            <p:ph type="sldNum" sz="quarter" idx="10"/>
          </p:nvPr>
        </p:nvSpPr>
        <p:spPr/>
        <p:txBody>
          <a:bodyPr/>
          <a:lstStyle/>
          <a:p>
            <a:fld id="{97033E4B-E3EB-3D46-B2D8-3159663620FA}" type="slidenum">
              <a:rPr lang="en-US" smtClean="0"/>
              <a:pPr/>
              <a:t>15</a:t>
            </a:fld>
            <a:endParaRPr lang="en-US"/>
          </a:p>
        </p:txBody>
      </p:sp>
      <p:sp>
        <p:nvSpPr>
          <p:cNvPr id="5" name="Footer Placeholder 4">
            <a:extLst>
              <a:ext uri="{FF2B5EF4-FFF2-40B4-BE49-F238E27FC236}">
                <a16:creationId xmlns:a16="http://schemas.microsoft.com/office/drawing/2014/main" id="{8D23656F-9268-03B9-7F42-41456B8B7744}"/>
              </a:ext>
            </a:extLst>
          </p:cNvPr>
          <p:cNvSpPr>
            <a:spLocks noGrp="1"/>
          </p:cNvSpPr>
          <p:nvPr>
            <p:ph type="ftr" sz="quarter" idx="11"/>
          </p:nvPr>
        </p:nvSpPr>
        <p:spPr/>
        <p:txBody>
          <a:bodyPr/>
          <a:lstStyle/>
          <a:p>
            <a:pPr algn="l"/>
            <a:r>
              <a:rPr lang="en-US"/>
              <a:t>Illinois Perinatal Quality Collaborative</a:t>
            </a:r>
          </a:p>
        </p:txBody>
      </p:sp>
      <p:sp>
        <p:nvSpPr>
          <p:cNvPr id="6" name="Rectangle 5">
            <a:extLst>
              <a:ext uri="{FF2B5EF4-FFF2-40B4-BE49-F238E27FC236}">
                <a16:creationId xmlns:a16="http://schemas.microsoft.com/office/drawing/2014/main" id="{624E5E16-C2C8-3E70-D60F-7779039D5D3F}"/>
              </a:ext>
            </a:extLst>
          </p:cNvPr>
          <p:cNvSpPr/>
          <p:nvPr/>
        </p:nvSpPr>
        <p:spPr>
          <a:xfrm>
            <a:off x="1947033" y="2651278"/>
            <a:ext cx="2789207" cy="2300377"/>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a:ea typeface="Calibri"/>
                <a:cs typeface="Calibri"/>
              </a:rPr>
              <a:t>Structural Change </a:t>
            </a:r>
            <a:endParaRPr lang="en-US" sz="4000"/>
          </a:p>
        </p:txBody>
      </p:sp>
      <p:sp>
        <p:nvSpPr>
          <p:cNvPr id="8" name="Rectangle 7">
            <a:extLst>
              <a:ext uri="{FF2B5EF4-FFF2-40B4-BE49-F238E27FC236}">
                <a16:creationId xmlns:a16="http://schemas.microsoft.com/office/drawing/2014/main" id="{1AC53495-722C-9B2E-6443-ACD63887CC51}"/>
              </a:ext>
            </a:extLst>
          </p:cNvPr>
          <p:cNvSpPr/>
          <p:nvPr/>
        </p:nvSpPr>
        <p:spPr>
          <a:xfrm>
            <a:off x="7017299" y="2651278"/>
            <a:ext cx="2789207" cy="2300377"/>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4000">
                <a:ea typeface="Calibri"/>
                <a:cs typeface="Calibri"/>
              </a:rPr>
              <a:t>Clinical Culture Change </a:t>
            </a:r>
          </a:p>
        </p:txBody>
      </p:sp>
      <p:sp>
        <p:nvSpPr>
          <p:cNvPr id="9" name="Arrow: Right 8">
            <a:extLst>
              <a:ext uri="{FF2B5EF4-FFF2-40B4-BE49-F238E27FC236}">
                <a16:creationId xmlns:a16="http://schemas.microsoft.com/office/drawing/2014/main" id="{81BF1FA0-2540-FD9B-D2A5-56A7EF7EEB4D}"/>
              </a:ext>
            </a:extLst>
          </p:cNvPr>
          <p:cNvSpPr/>
          <p:nvPr/>
        </p:nvSpPr>
        <p:spPr>
          <a:xfrm>
            <a:off x="5056729" y="3313412"/>
            <a:ext cx="1854679" cy="97766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5BDCD7E9-0895-8935-4DB8-19819607476B}"/>
              </a:ext>
            </a:extLst>
          </p:cNvPr>
          <p:cNvSpPr/>
          <p:nvPr/>
        </p:nvSpPr>
        <p:spPr>
          <a:xfrm>
            <a:off x="2479476" y="5232797"/>
            <a:ext cx="7334249" cy="940593"/>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cs typeface="Calibri"/>
              </a:rPr>
              <a:t>As this point, we expect that most structure measures will be in the NOT STARTED category</a:t>
            </a:r>
          </a:p>
        </p:txBody>
      </p:sp>
    </p:spTree>
    <p:extLst>
      <p:ext uri="{BB962C8B-B14F-4D97-AF65-F5344CB8AC3E}">
        <p14:creationId xmlns:p14="http://schemas.microsoft.com/office/powerpoint/2010/main" val="3952621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04BC4-FDCE-7B1B-D288-192FF0AC17CF}"/>
              </a:ext>
            </a:extLst>
          </p:cNvPr>
          <p:cNvSpPr>
            <a:spLocks noGrp="1"/>
          </p:cNvSpPr>
          <p:nvPr>
            <p:ph type="title"/>
          </p:nvPr>
        </p:nvSpPr>
        <p:spPr/>
        <p:txBody>
          <a:bodyPr/>
          <a:lstStyle/>
          <a:p>
            <a:r>
              <a:rPr lang="en-US" dirty="0">
                <a:ea typeface="Lato Medium"/>
                <a:cs typeface="Lato Medium"/>
              </a:rPr>
              <a:t>Structure Measures</a:t>
            </a:r>
            <a:endParaRPr lang="en-US" dirty="0"/>
          </a:p>
        </p:txBody>
      </p:sp>
      <p:pic>
        <p:nvPicPr>
          <p:cNvPr id="8" name="Content Placeholder 7" descr="Traffic light with solid fill">
            <a:extLst>
              <a:ext uri="{FF2B5EF4-FFF2-40B4-BE49-F238E27FC236}">
                <a16:creationId xmlns:a16="http://schemas.microsoft.com/office/drawing/2014/main" id="{E7DFC1F9-C5E5-8106-F025-DB03C289CA7C}"/>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342900" y="1237456"/>
            <a:ext cx="4355305" cy="4343399"/>
          </a:xfrm>
        </p:spPr>
      </p:pic>
      <p:sp>
        <p:nvSpPr>
          <p:cNvPr id="4" name="Slide Number Placeholder 3">
            <a:extLst>
              <a:ext uri="{FF2B5EF4-FFF2-40B4-BE49-F238E27FC236}">
                <a16:creationId xmlns:a16="http://schemas.microsoft.com/office/drawing/2014/main" id="{C9819D83-5FA7-B7B0-B5A1-DA4A5CEA95B9}"/>
              </a:ext>
            </a:extLst>
          </p:cNvPr>
          <p:cNvSpPr>
            <a:spLocks noGrp="1"/>
          </p:cNvSpPr>
          <p:nvPr>
            <p:ph type="sldNum" sz="quarter" idx="10"/>
          </p:nvPr>
        </p:nvSpPr>
        <p:spPr/>
        <p:txBody>
          <a:bodyPr/>
          <a:lstStyle/>
          <a:p>
            <a:fld id="{97033E4B-E3EB-3D46-B2D8-3159663620FA}" type="slidenum">
              <a:rPr lang="en-US" smtClean="0"/>
              <a:pPr/>
              <a:t>16</a:t>
            </a:fld>
            <a:endParaRPr lang="en-US"/>
          </a:p>
        </p:txBody>
      </p:sp>
      <p:sp>
        <p:nvSpPr>
          <p:cNvPr id="5" name="Footer Placeholder 4">
            <a:extLst>
              <a:ext uri="{FF2B5EF4-FFF2-40B4-BE49-F238E27FC236}">
                <a16:creationId xmlns:a16="http://schemas.microsoft.com/office/drawing/2014/main" id="{D27F5BE7-233A-1239-3881-026637C02D86}"/>
              </a:ext>
            </a:extLst>
          </p:cNvPr>
          <p:cNvSpPr>
            <a:spLocks noGrp="1"/>
          </p:cNvSpPr>
          <p:nvPr>
            <p:ph type="ftr" sz="quarter" idx="11"/>
          </p:nvPr>
        </p:nvSpPr>
        <p:spPr/>
        <p:txBody>
          <a:bodyPr/>
          <a:lstStyle/>
          <a:p>
            <a:pPr algn="l"/>
            <a:r>
              <a:rPr lang="en-US"/>
              <a:t>Illinois Perinatal Quality Collaborative</a:t>
            </a:r>
          </a:p>
        </p:txBody>
      </p:sp>
      <p:sp>
        <p:nvSpPr>
          <p:cNvPr id="7" name="Rectangle: Rounded Corners 6">
            <a:extLst>
              <a:ext uri="{FF2B5EF4-FFF2-40B4-BE49-F238E27FC236}">
                <a16:creationId xmlns:a16="http://schemas.microsoft.com/office/drawing/2014/main" id="{85AF476D-E255-AA0F-4E41-D18CBB455173}"/>
              </a:ext>
            </a:extLst>
          </p:cNvPr>
          <p:cNvSpPr/>
          <p:nvPr/>
        </p:nvSpPr>
        <p:spPr>
          <a:xfrm>
            <a:off x="7849194" y="1791891"/>
            <a:ext cx="3833812" cy="3131342"/>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dirty="0">
                <a:cs typeface="Calibri"/>
              </a:rPr>
              <a:t>As this point, we expect that most structure measures will be in the NOT STARTED category</a:t>
            </a:r>
          </a:p>
        </p:txBody>
      </p:sp>
      <p:sp>
        <p:nvSpPr>
          <p:cNvPr id="9" name="Oval 8">
            <a:extLst>
              <a:ext uri="{FF2B5EF4-FFF2-40B4-BE49-F238E27FC236}">
                <a16:creationId xmlns:a16="http://schemas.microsoft.com/office/drawing/2014/main" id="{B2EF1FE1-43ED-D200-5EAE-E15B334B31A6}"/>
              </a:ext>
            </a:extLst>
          </p:cNvPr>
          <p:cNvSpPr/>
          <p:nvPr/>
        </p:nvSpPr>
        <p:spPr>
          <a:xfrm>
            <a:off x="2062757" y="1976436"/>
            <a:ext cx="916780" cy="89296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E35200C2-C3FD-E192-EF27-715A1699F06A}"/>
              </a:ext>
            </a:extLst>
          </p:cNvPr>
          <p:cNvSpPr/>
          <p:nvPr/>
        </p:nvSpPr>
        <p:spPr>
          <a:xfrm>
            <a:off x="2062756" y="2964655"/>
            <a:ext cx="916780" cy="892967"/>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E29A0596-DC3E-2E1C-06B6-3ACCB81E7E9B}"/>
              </a:ext>
            </a:extLst>
          </p:cNvPr>
          <p:cNvSpPr/>
          <p:nvPr/>
        </p:nvSpPr>
        <p:spPr>
          <a:xfrm>
            <a:off x="2062756" y="3952874"/>
            <a:ext cx="916780" cy="892967"/>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0BFA4BC0-5C13-5D86-D1F4-CB891EB2DA6A}"/>
              </a:ext>
            </a:extLst>
          </p:cNvPr>
          <p:cNvSpPr txBox="1"/>
          <p:nvPr/>
        </p:nvSpPr>
        <p:spPr>
          <a:xfrm>
            <a:off x="4289226" y="1976437"/>
            <a:ext cx="4881562"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a:cs typeface="Calibri"/>
              </a:rPr>
              <a:t>Haven't Started</a:t>
            </a:r>
            <a:endParaRPr lang="en-US" sz="3600" dirty="0">
              <a:cs typeface="Calibri"/>
            </a:endParaRPr>
          </a:p>
          <a:p>
            <a:endParaRPr lang="en-US" sz="3600" dirty="0">
              <a:cs typeface="Calibri"/>
            </a:endParaRPr>
          </a:p>
          <a:p>
            <a:r>
              <a:rPr lang="en-US" sz="3600" dirty="0">
                <a:cs typeface="Calibri"/>
              </a:rPr>
              <a:t>Working On It</a:t>
            </a:r>
          </a:p>
          <a:p>
            <a:endParaRPr lang="en-US" sz="3600" dirty="0">
              <a:cs typeface="Calibri"/>
            </a:endParaRPr>
          </a:p>
          <a:p>
            <a:r>
              <a:rPr lang="en-US" sz="3600" dirty="0">
                <a:cs typeface="Calibri"/>
              </a:rPr>
              <a:t>In Place</a:t>
            </a:r>
          </a:p>
        </p:txBody>
      </p:sp>
    </p:spTree>
    <p:extLst>
      <p:ext uri="{BB962C8B-B14F-4D97-AF65-F5344CB8AC3E}">
        <p14:creationId xmlns:p14="http://schemas.microsoft.com/office/powerpoint/2010/main" val="4076439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1A90D-C1D1-012C-7D42-241FA62B00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94FDD0-5D29-B485-6260-E82CA22C06C9}"/>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315CF0A2-BDF4-4A07-3F8C-37029E004199}"/>
              </a:ext>
            </a:extLst>
          </p:cNvPr>
          <p:cNvSpPr>
            <a:spLocks noGrp="1"/>
          </p:cNvSpPr>
          <p:nvPr>
            <p:ph type="sldNum" sz="quarter" idx="10"/>
          </p:nvPr>
        </p:nvSpPr>
        <p:spPr/>
        <p:txBody>
          <a:bodyPr/>
          <a:lstStyle/>
          <a:p>
            <a:fld id="{97033E4B-E3EB-3D46-B2D8-3159663620FA}" type="slidenum">
              <a:rPr lang="en-US" smtClean="0"/>
              <a:pPr/>
              <a:t>17</a:t>
            </a:fld>
            <a:endParaRPr lang="en-US"/>
          </a:p>
        </p:txBody>
      </p:sp>
      <p:sp>
        <p:nvSpPr>
          <p:cNvPr id="5" name="Footer Placeholder 4">
            <a:extLst>
              <a:ext uri="{FF2B5EF4-FFF2-40B4-BE49-F238E27FC236}">
                <a16:creationId xmlns:a16="http://schemas.microsoft.com/office/drawing/2014/main" id="{4B3F5545-FF9E-3EDB-1819-5A8F2EE0DE58}"/>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9953D7F1-17BD-728F-97C1-5B32C8D16034}"/>
              </a:ext>
            </a:extLst>
          </p:cNvPr>
          <p:cNvSpPr>
            <a:spLocks noGrp="1"/>
          </p:cNvSpPr>
          <p:nvPr>
            <p:ph idx="1"/>
          </p:nvPr>
        </p:nvSpPr>
        <p:spPr>
          <a:xfrm>
            <a:off x="609600" y="1706336"/>
            <a:ext cx="11260348" cy="4351338"/>
          </a:xfrm>
        </p:spPr>
        <p:txBody>
          <a:bodyPr vert="horz" lIns="91440" tIns="45720" rIns="91440" bIns="45720" rtlCol="0" anchor="t">
            <a:noAutofit/>
          </a:bodyPr>
          <a:lstStyle/>
          <a:p>
            <a:pPr fontAlgn="t">
              <a:spcBef>
                <a:spcPts val="0"/>
              </a:spcBef>
            </a:pPr>
            <a:r>
              <a:rPr lang="en-US" dirty="0">
                <a:ea typeface="Lato"/>
                <a:cs typeface="Lato"/>
              </a:rPr>
              <a:t>Hospital has </a:t>
            </a:r>
            <a:r>
              <a:rPr lang="en-US" b="1" u="sng" dirty="0">
                <a:ea typeface="Lato"/>
                <a:cs typeface="Lato"/>
              </a:rPr>
              <a:t>standardized provider and hospital staff education about listening to parents and caregivers, providing respectful care and building trust, addressing implicit bias and engaging in anti-racism</a:t>
            </a:r>
            <a:r>
              <a:rPr lang="en-US" dirty="0">
                <a:ea typeface="Lato"/>
                <a:cs typeface="Lato"/>
              </a:rPr>
              <a:t>.</a:t>
            </a:r>
          </a:p>
          <a:p>
            <a:pPr lvl="1">
              <a:spcBef>
                <a:spcPts val="0"/>
              </a:spcBef>
              <a:buClr>
                <a:srgbClr val="1C498B"/>
              </a:buClr>
              <a:buFont typeface="Courier New" panose="020B0604020202020204" pitchFamily="34" charset="0"/>
              <a:buChar char="o"/>
            </a:pPr>
            <a:r>
              <a:rPr lang="en-US" dirty="0">
                <a:ea typeface="Lato"/>
                <a:cs typeface="Lato"/>
              </a:rPr>
              <a:t>January and February 2024 Webinar topics</a:t>
            </a:r>
          </a:p>
          <a:p>
            <a:pPr lvl="1">
              <a:spcBef>
                <a:spcPts val="0"/>
              </a:spcBef>
              <a:buClr>
                <a:srgbClr val="1C498B"/>
              </a:buClr>
              <a:buFont typeface="Courier New" panose="020B0604020202020204" pitchFamily="34" charset="0"/>
              <a:buChar char="o"/>
            </a:pPr>
            <a:r>
              <a:rPr lang="en-US" dirty="0">
                <a:ea typeface="Lato"/>
                <a:cs typeface="Lato"/>
              </a:rPr>
              <a:t>Review Toolkit Driver 1: Secondary Driver 1 Resources</a:t>
            </a:r>
          </a:p>
          <a:p>
            <a:pPr fontAlgn="t">
              <a:spcBef>
                <a:spcPts val="0"/>
              </a:spcBef>
            </a:pPr>
            <a:r>
              <a:rPr lang="en-US" dirty="0">
                <a:ea typeface="Lato"/>
                <a:cs typeface="Lato"/>
              </a:rPr>
              <a:t>Hospital has standardized </a:t>
            </a:r>
            <a:r>
              <a:rPr lang="en-US" b="1" u="sng" dirty="0">
                <a:ea typeface="Lato"/>
                <a:cs typeface="Lato"/>
              </a:rPr>
              <a:t>provider and hospital staff education about the importance of a safe sleep environment </a:t>
            </a:r>
            <a:r>
              <a:rPr lang="en-US" dirty="0">
                <a:ea typeface="Lato"/>
                <a:cs typeface="Lato"/>
              </a:rPr>
              <a:t>and engaging in meaningful, culturally appropriate, respectful, nonjudgmental conversations with parents or caregivers about safe sleep.  </a:t>
            </a:r>
            <a:endParaRPr lang="en-US" b="1" u="sng" dirty="0"/>
          </a:p>
          <a:p>
            <a:pPr lvl="1">
              <a:spcBef>
                <a:spcPts val="0"/>
              </a:spcBef>
              <a:buClr>
                <a:srgbClr val="1C498B"/>
              </a:buClr>
              <a:buFont typeface="Courier New,monospace" panose="020B0604020202020204" pitchFamily="34" charset="0"/>
              <a:buChar char="o"/>
            </a:pPr>
            <a:r>
              <a:rPr lang="en-US" dirty="0">
                <a:ea typeface="Lato"/>
                <a:cs typeface="Lato"/>
              </a:rPr>
              <a:t>March</a:t>
            </a:r>
            <a:r>
              <a:rPr lang="en-US" dirty="0">
                <a:ea typeface="Lato"/>
                <a:cs typeface="Calibri"/>
              </a:rPr>
              <a:t> 2024 Webinar topic</a:t>
            </a:r>
          </a:p>
          <a:p>
            <a:pPr lvl="1">
              <a:spcBef>
                <a:spcPts val="0"/>
              </a:spcBef>
              <a:buClr>
                <a:srgbClr val="1C498B"/>
              </a:buClr>
              <a:buFont typeface="Courier New,monospace" panose="020B0604020202020204" pitchFamily="34" charset="0"/>
              <a:buChar char="o"/>
            </a:pPr>
            <a:r>
              <a:rPr lang="en-US" dirty="0">
                <a:ea typeface="Lato"/>
                <a:cs typeface="Calibri"/>
              </a:rPr>
              <a:t>Review Toolkit Driver 1: Secondary Driver 2 Resources</a:t>
            </a:r>
            <a:endParaRPr lang="en-US"/>
          </a:p>
        </p:txBody>
      </p:sp>
      <p:pic>
        <p:nvPicPr>
          <p:cNvPr id="3" name="Graphic 2" descr="Laptop outline">
            <a:extLst>
              <a:ext uri="{FF2B5EF4-FFF2-40B4-BE49-F238E27FC236}">
                <a16:creationId xmlns:a16="http://schemas.microsoft.com/office/drawing/2014/main" id="{76384EC7-5EF9-FEC7-968A-891DB62074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68196" y="2756139"/>
            <a:ext cx="770627" cy="770627"/>
          </a:xfrm>
          <a:prstGeom prst="rect">
            <a:avLst/>
          </a:prstGeom>
        </p:spPr>
      </p:pic>
      <p:pic>
        <p:nvPicPr>
          <p:cNvPr id="6" name="Graphic 5" descr="Laptop outline">
            <a:extLst>
              <a:ext uri="{FF2B5EF4-FFF2-40B4-BE49-F238E27FC236}">
                <a16:creationId xmlns:a16="http://schemas.microsoft.com/office/drawing/2014/main" id="{9642BB8D-9271-B591-762C-B1572E7BB2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86687" y="4840856"/>
            <a:ext cx="770627" cy="770627"/>
          </a:xfrm>
          <a:prstGeom prst="rect">
            <a:avLst/>
          </a:prstGeom>
        </p:spPr>
      </p:pic>
    </p:spTree>
    <p:extLst>
      <p:ext uri="{BB962C8B-B14F-4D97-AF65-F5344CB8AC3E}">
        <p14:creationId xmlns:p14="http://schemas.microsoft.com/office/powerpoint/2010/main" val="2951495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1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609600" y="1706336"/>
            <a:ext cx="10972800" cy="4351338"/>
          </a:xfrm>
        </p:spPr>
        <p:txBody>
          <a:bodyPr vert="horz" lIns="91440" tIns="45720" rIns="91440" bIns="45720" rtlCol="0" anchor="t">
            <a:noAutofit/>
          </a:bodyPr>
          <a:lstStyle/>
          <a:p>
            <a:pPr fontAlgn="t">
              <a:spcBef>
                <a:spcPts val="0"/>
              </a:spcBef>
            </a:pPr>
            <a:r>
              <a:rPr lang="en-US" dirty="0">
                <a:ea typeface="Lato"/>
                <a:cs typeface="Calibri"/>
              </a:rPr>
              <a:t>Hospital has a standardized practice of </a:t>
            </a:r>
            <a:r>
              <a:rPr lang="en-US" b="1" u="sng" dirty="0">
                <a:ea typeface="Lato"/>
                <a:cs typeface="Calibri"/>
              </a:rPr>
              <a:t>promoting a safe sleep environment </a:t>
            </a:r>
            <a:r>
              <a:rPr lang="en-US" dirty="0">
                <a:ea typeface="Lato"/>
                <a:cs typeface="Calibri"/>
              </a:rPr>
              <a:t>in the hospital setting in accordance with the 2022 AAP Recommendations. </a:t>
            </a:r>
            <a:endParaRPr lang="en-US" dirty="0">
              <a:ea typeface="Lato"/>
              <a:cs typeface="Lato"/>
            </a:endParaRPr>
          </a:p>
          <a:p>
            <a:pPr lvl="1">
              <a:spcBef>
                <a:spcPts val="0"/>
              </a:spcBef>
              <a:buFont typeface="Courier New" panose="020B0604020202020204" pitchFamily="34" charset="0"/>
              <a:buChar char="o"/>
            </a:pPr>
            <a:r>
              <a:rPr lang="en-US" dirty="0">
                <a:ea typeface="Lato"/>
                <a:cs typeface="Calibri"/>
              </a:rPr>
              <a:t>How does your team ensure that all eligible babies are in a safe sleep environment on your units?</a:t>
            </a:r>
          </a:p>
          <a:p>
            <a:pPr lvl="1">
              <a:spcBef>
                <a:spcPts val="0"/>
              </a:spcBef>
              <a:buFont typeface="Courier New" panose="020B0604020202020204" pitchFamily="34" charset="0"/>
              <a:buChar char="o"/>
            </a:pPr>
            <a:r>
              <a:rPr lang="en-US" dirty="0">
                <a:ea typeface="Lato"/>
                <a:cs typeface="Calibri"/>
              </a:rPr>
              <a:t>Are you conducting audits? What is your process?</a:t>
            </a:r>
          </a:p>
          <a:p>
            <a:pPr>
              <a:spcBef>
                <a:spcPts val="0"/>
              </a:spcBef>
            </a:pPr>
            <a:r>
              <a:rPr lang="en-US" dirty="0">
                <a:ea typeface="Lato"/>
                <a:cs typeface="Lato"/>
              </a:rPr>
              <a:t>Hospital has a </a:t>
            </a:r>
            <a:r>
              <a:rPr lang="en-US" b="1" u="sng" dirty="0">
                <a:ea typeface="Lato"/>
                <a:cs typeface="Lato"/>
              </a:rPr>
              <a:t>policy in place for safe sleep practices</a:t>
            </a:r>
            <a:r>
              <a:rPr lang="en-US" dirty="0">
                <a:ea typeface="Lato"/>
                <a:cs typeface="Lato"/>
              </a:rPr>
              <a:t> reflective of the 2022 AAP Recommendations.</a:t>
            </a:r>
            <a:endParaRPr lang="en-US">
              <a:ea typeface="Lato"/>
              <a:cs typeface="Lato"/>
            </a:endParaRPr>
          </a:p>
          <a:p>
            <a:pPr lvl="1">
              <a:spcBef>
                <a:spcPts val="0"/>
              </a:spcBef>
              <a:buClr>
                <a:srgbClr val="1C498B"/>
              </a:buClr>
              <a:buFont typeface="Courier New" panose="020B0604020202020204" pitchFamily="34" charset="0"/>
              <a:buChar char="o"/>
            </a:pPr>
            <a:r>
              <a:rPr lang="en-US" dirty="0">
                <a:ea typeface="Lato"/>
                <a:cs typeface="Lato"/>
              </a:rPr>
              <a:t>Have you reviewed the 2022 AAP safe sleep guidelines?</a:t>
            </a:r>
          </a:p>
          <a:p>
            <a:pPr lvl="1">
              <a:spcBef>
                <a:spcPts val="0"/>
              </a:spcBef>
              <a:buClr>
                <a:srgbClr val="1C498B"/>
              </a:buClr>
              <a:buFont typeface="Courier New" panose="020B0604020202020204" pitchFamily="34" charset="0"/>
              <a:buChar char="o"/>
            </a:pPr>
            <a:r>
              <a:rPr lang="en-US" dirty="0">
                <a:ea typeface="Lato"/>
                <a:cs typeface="Lato"/>
              </a:rPr>
              <a:t>Have you updated your policy to reflect the new guidelines?</a:t>
            </a:r>
          </a:p>
          <a:p>
            <a:pPr lvl="1">
              <a:spcBef>
                <a:spcPts val="0"/>
              </a:spcBef>
              <a:buClr>
                <a:srgbClr val="1C498B"/>
              </a:buClr>
              <a:buFont typeface="Courier New" panose="020B0604020202020204" pitchFamily="34" charset="0"/>
              <a:buChar char="o"/>
            </a:pPr>
            <a:r>
              <a:rPr lang="en-US" dirty="0">
                <a:ea typeface="Lato"/>
                <a:cs typeface="Lato"/>
              </a:rPr>
              <a:t>Are all providers, nurses and staff aware of the new policy?</a:t>
            </a:r>
          </a:p>
          <a:p>
            <a:pPr fontAlgn="t">
              <a:spcBef>
                <a:spcPts val="0"/>
              </a:spcBef>
            </a:pPr>
            <a:endParaRPr lang="en-US" dirty="0">
              <a:ea typeface="Lato"/>
              <a:cs typeface="Lato"/>
            </a:endParaRPr>
          </a:p>
        </p:txBody>
      </p:sp>
    </p:spTree>
    <p:extLst>
      <p:ext uri="{BB962C8B-B14F-4D97-AF65-F5344CB8AC3E}">
        <p14:creationId xmlns:p14="http://schemas.microsoft.com/office/powerpoint/2010/main" val="661046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C0DA4-E1CF-CC4D-1842-C469F3C322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B2BAFB-F3C3-2627-32FD-743D2B7B87DC}"/>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CDCC0A0F-D16E-6E1B-1CFA-B94B4C56F5FF}"/>
              </a:ext>
            </a:extLst>
          </p:cNvPr>
          <p:cNvSpPr>
            <a:spLocks noGrp="1"/>
          </p:cNvSpPr>
          <p:nvPr>
            <p:ph type="sldNum" sz="quarter" idx="10"/>
          </p:nvPr>
        </p:nvSpPr>
        <p:spPr/>
        <p:txBody>
          <a:bodyPr/>
          <a:lstStyle/>
          <a:p>
            <a:fld id="{97033E4B-E3EB-3D46-B2D8-3159663620FA}" type="slidenum">
              <a:rPr lang="en-US" smtClean="0"/>
              <a:pPr/>
              <a:t>19</a:t>
            </a:fld>
            <a:endParaRPr lang="en-US"/>
          </a:p>
        </p:txBody>
      </p:sp>
      <p:sp>
        <p:nvSpPr>
          <p:cNvPr id="5" name="Footer Placeholder 4">
            <a:extLst>
              <a:ext uri="{FF2B5EF4-FFF2-40B4-BE49-F238E27FC236}">
                <a16:creationId xmlns:a16="http://schemas.microsoft.com/office/drawing/2014/main" id="{B18D2DF9-C66C-BEE6-4876-36A94D67E85B}"/>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ED1BE979-C18D-624E-E463-2C8C3A396A0B}"/>
              </a:ext>
            </a:extLst>
          </p:cNvPr>
          <p:cNvSpPr>
            <a:spLocks noGrp="1"/>
          </p:cNvSpPr>
          <p:nvPr>
            <p:ph idx="1"/>
          </p:nvPr>
        </p:nvSpPr>
        <p:spPr>
          <a:xfrm>
            <a:off x="609600" y="1311917"/>
            <a:ext cx="10972800" cy="4351338"/>
          </a:xfrm>
        </p:spPr>
        <p:txBody>
          <a:bodyPr vert="horz" lIns="91440" tIns="45720" rIns="91440" bIns="45720" rtlCol="0" anchor="t">
            <a:noAutofit/>
          </a:bodyPr>
          <a:lstStyle/>
          <a:p>
            <a:pPr fontAlgn="t">
              <a:spcBef>
                <a:spcPts val="0"/>
              </a:spcBef>
            </a:pPr>
            <a:r>
              <a:rPr lang="en-US" dirty="0">
                <a:ea typeface="Lato"/>
                <a:cs typeface="Lato"/>
              </a:rPr>
              <a:t>Hospital has a standardized process to use </a:t>
            </a:r>
            <a:r>
              <a:rPr lang="en-US" b="1" u="sng" dirty="0">
                <a:ea typeface="Lato"/>
                <a:cs typeface="Lato"/>
              </a:rPr>
              <a:t>qualified language interpreters </a:t>
            </a:r>
            <a:r>
              <a:rPr lang="en-US" dirty="0">
                <a:ea typeface="Lato"/>
                <a:cs typeface="Lato"/>
              </a:rPr>
              <a:t>in parents/caregivers’ preferred language.</a:t>
            </a:r>
          </a:p>
          <a:p>
            <a:pPr lvl="1">
              <a:spcBef>
                <a:spcPts val="0"/>
              </a:spcBef>
              <a:buClr>
                <a:srgbClr val="1C498B"/>
              </a:buClr>
              <a:buFont typeface="Courier New" panose="020B0604020202020204" pitchFamily="34" charset="0"/>
              <a:buChar char="o"/>
            </a:pPr>
            <a:r>
              <a:rPr lang="en-US" dirty="0">
                <a:ea typeface="Lato"/>
                <a:cs typeface="Lato"/>
              </a:rPr>
              <a:t>What is your process to understanding whether an interpreter is needed?</a:t>
            </a:r>
            <a:endParaRPr lang="en-US"/>
          </a:p>
          <a:p>
            <a:pPr lvl="1">
              <a:spcBef>
                <a:spcPts val="0"/>
              </a:spcBef>
              <a:buClr>
                <a:srgbClr val="1C498B"/>
              </a:buClr>
              <a:buFont typeface="Courier New" panose="020B0604020202020204" pitchFamily="34" charset="0"/>
              <a:buChar char="o"/>
            </a:pPr>
            <a:r>
              <a:rPr lang="en-US" dirty="0">
                <a:ea typeface="Lato"/>
                <a:cs typeface="Lato"/>
              </a:rPr>
              <a:t>How often is the interpreter utilized?</a:t>
            </a:r>
            <a:endParaRPr lang="en-US"/>
          </a:p>
          <a:p>
            <a:pPr lvl="1">
              <a:spcBef>
                <a:spcPts val="0"/>
              </a:spcBef>
              <a:buClr>
                <a:srgbClr val="1C498B"/>
              </a:buClr>
              <a:buFont typeface="Courier New" panose="020B0604020202020204" pitchFamily="34" charset="0"/>
              <a:buChar char="o"/>
            </a:pPr>
            <a:r>
              <a:rPr lang="en-US" dirty="0">
                <a:ea typeface="Lato"/>
                <a:cs typeface="Lato"/>
              </a:rPr>
              <a:t>How can you assess whether the interpreter is effective?</a:t>
            </a:r>
            <a:endParaRPr lang="en-US"/>
          </a:p>
          <a:p>
            <a:pPr>
              <a:spcBef>
                <a:spcPts val="0"/>
              </a:spcBef>
              <a:buClr>
                <a:srgbClr val="F5668F"/>
              </a:buClr>
            </a:pPr>
            <a:r>
              <a:rPr lang="en-US" dirty="0">
                <a:ea typeface="Lato"/>
                <a:cs typeface="Lato"/>
              </a:rPr>
              <a:t>Hospital has a standardized process for </a:t>
            </a:r>
            <a:r>
              <a:rPr lang="en-US" b="1" u="sng" dirty="0">
                <a:ea typeface="Lato"/>
                <a:cs typeface="Lato"/>
              </a:rPr>
              <a:t>reviewing all unit policies with an equity lens </a:t>
            </a:r>
            <a:r>
              <a:rPr lang="en-US" dirty="0">
                <a:ea typeface="Lato"/>
                <a:cs typeface="Lato"/>
              </a:rPr>
              <a:t>and making necessary changes.  </a:t>
            </a:r>
            <a:endParaRPr lang="en-US" dirty="0"/>
          </a:p>
          <a:p>
            <a:pPr lvl="1">
              <a:spcBef>
                <a:spcPts val="0"/>
              </a:spcBef>
              <a:buClr>
                <a:srgbClr val="1C498B"/>
              </a:buClr>
              <a:buFont typeface="Courier New" panose="020B0604020202020204" pitchFamily="34" charset="0"/>
              <a:buChar char="o"/>
            </a:pPr>
            <a:r>
              <a:rPr lang="en-US" dirty="0">
                <a:ea typeface="Lato"/>
                <a:cs typeface="Lato"/>
              </a:rPr>
              <a:t>More tools to come!</a:t>
            </a:r>
            <a:endParaRPr lang="en-US" dirty="0"/>
          </a:p>
          <a:p>
            <a:pPr fontAlgn="t">
              <a:spcBef>
                <a:spcPts val="0"/>
              </a:spcBef>
            </a:pPr>
            <a:r>
              <a:rPr lang="en-US" dirty="0">
                <a:ea typeface="Lato"/>
                <a:cs typeface="Lato"/>
              </a:rPr>
              <a:t>Hospital has </a:t>
            </a:r>
            <a:r>
              <a:rPr lang="en-US" b="1" u="sng" dirty="0">
                <a:ea typeface="Lato"/>
                <a:cs typeface="Lato"/>
              </a:rPr>
              <a:t>parent(s) and/or caregiver(s) on the newborn quality improvement team</a:t>
            </a:r>
            <a:endParaRPr lang="en-US"/>
          </a:p>
          <a:p>
            <a:pPr lvl="1">
              <a:spcBef>
                <a:spcPts val="0"/>
              </a:spcBef>
              <a:buFont typeface="Courier New" panose="020B0604020202020204" pitchFamily="34" charset="0"/>
              <a:buChar char="o"/>
            </a:pPr>
            <a:r>
              <a:rPr lang="en-US" dirty="0">
                <a:ea typeface="Lato"/>
                <a:cs typeface="Lato"/>
              </a:rPr>
              <a:t>Does your team have a parent and/or caregiver yet?</a:t>
            </a:r>
          </a:p>
          <a:p>
            <a:pPr lvl="1">
              <a:spcBef>
                <a:spcPts val="0"/>
              </a:spcBef>
              <a:buFont typeface="Courier New" panose="020B0604020202020204" pitchFamily="34" charset="0"/>
              <a:buChar char="o"/>
            </a:pPr>
            <a:r>
              <a:rPr lang="en-US" dirty="0">
                <a:ea typeface="Lato"/>
                <a:cs typeface="Lato"/>
              </a:rPr>
              <a:t>Does your hospital's BE team?</a:t>
            </a:r>
          </a:p>
        </p:txBody>
      </p:sp>
    </p:spTree>
    <p:extLst>
      <p:ext uri="{BB962C8B-B14F-4D97-AF65-F5344CB8AC3E}">
        <p14:creationId xmlns:p14="http://schemas.microsoft.com/office/powerpoint/2010/main" val="2163654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337457"/>
            <a:ext cx="8229600" cy="1143000"/>
          </a:xfrm>
          <a:noFill/>
        </p:spPr>
        <p:txBody>
          <a:bodyPr>
            <a:normAutofit/>
          </a:bodyPr>
          <a:lstStyle/>
          <a:p>
            <a:r>
              <a:rPr lang="en-US" altLang="en-US" sz="4800" dirty="0">
                <a:ea typeface="Lato Medium"/>
                <a:cs typeface="Lato Medium"/>
              </a:rPr>
              <a:t>Data Call Overview</a:t>
            </a:r>
          </a:p>
        </p:txBody>
      </p:sp>
      <p:sp>
        <p:nvSpPr>
          <p:cNvPr id="16387" name="Content Placeholder 3"/>
          <p:cNvSpPr>
            <a:spLocks noGrp="1"/>
          </p:cNvSpPr>
          <p:nvPr>
            <p:ph idx="1"/>
          </p:nvPr>
        </p:nvSpPr>
        <p:spPr>
          <a:xfrm>
            <a:off x="317253" y="1413504"/>
            <a:ext cx="12262553" cy="4953288"/>
          </a:xfrm>
        </p:spPr>
        <p:txBody>
          <a:bodyPr vert="horz" lIns="91440" tIns="45720" rIns="91440" bIns="45720" rtlCol="0" anchor="t">
            <a:normAutofit/>
          </a:bodyPr>
          <a:lstStyle/>
          <a:p>
            <a:r>
              <a:rPr lang="en-US" altLang="en-US" sz="2800" dirty="0">
                <a:ea typeface="Lato"/>
                <a:cs typeface="Lato"/>
              </a:rPr>
              <a:t> What is the ILPQC Data System (REDCap)? </a:t>
            </a:r>
            <a:endParaRPr lang="en-US"/>
          </a:p>
          <a:p>
            <a:r>
              <a:rPr lang="en-US" altLang="en-US" sz="2800" dirty="0">
                <a:ea typeface="Lato"/>
                <a:cs typeface="Lato"/>
              </a:rPr>
              <a:t> Accessing </a:t>
            </a:r>
            <a:r>
              <a:rPr lang="en-US" altLang="en-US" sz="2800" dirty="0" err="1">
                <a:ea typeface="Lato"/>
                <a:cs typeface="Lato"/>
              </a:rPr>
              <a:t>REDCap</a:t>
            </a:r>
            <a:r>
              <a:rPr lang="en-US" altLang="en-US" sz="2800" dirty="0">
                <a:ea typeface="Lato"/>
                <a:cs typeface="Lato"/>
              </a:rPr>
              <a:t> </a:t>
            </a:r>
            <a:endParaRPr lang="en-US" dirty="0"/>
          </a:p>
          <a:p>
            <a:r>
              <a:rPr lang="en-US" altLang="en-US" sz="2800" dirty="0">
                <a:ea typeface="Lato"/>
                <a:cs typeface="Lato"/>
              </a:rPr>
              <a:t>ESSI Hospital Level Data</a:t>
            </a:r>
            <a:endParaRPr lang="en-US" dirty="0"/>
          </a:p>
          <a:p>
            <a:r>
              <a:rPr lang="en-US" altLang="en-US" sz="2800" dirty="0">
                <a:ea typeface="Lato"/>
                <a:cs typeface="Lato"/>
              </a:rPr>
              <a:t>ESSI Patient Level Data</a:t>
            </a:r>
            <a:endParaRPr lang="en-US" altLang="en-US" sz="2800" dirty="0"/>
          </a:p>
          <a:p>
            <a:pPr>
              <a:buClr>
                <a:srgbClr val="F5668F"/>
              </a:buClr>
            </a:pPr>
            <a:r>
              <a:rPr lang="en-US" altLang="en-US" sz="2800" dirty="0">
                <a:ea typeface="Lato"/>
                <a:cs typeface="Lato"/>
              </a:rPr>
              <a:t>Data Collection Timelines (Baseline &amp; Prospective Data) </a:t>
            </a:r>
            <a:endParaRPr lang="en-US" sz="2800"/>
          </a:p>
          <a:p>
            <a:pPr>
              <a:buClr>
                <a:srgbClr val="F5668F"/>
              </a:buClr>
            </a:pPr>
            <a:r>
              <a:rPr lang="en-US" altLang="en-US" sz="2800" dirty="0">
                <a:ea typeface="Lato"/>
                <a:cs typeface="Lato"/>
              </a:rPr>
              <a:t>Questions  and feedback from you</a:t>
            </a:r>
            <a:endParaRPr lang="en-US" sz="2800" dirty="0"/>
          </a:p>
          <a:p>
            <a:pPr>
              <a:buClr>
                <a:srgbClr val="F5668F"/>
              </a:buClr>
            </a:pPr>
            <a:endParaRPr lang="en-US" altLang="en-US" sz="2800" dirty="0"/>
          </a:p>
          <a:p>
            <a:pPr>
              <a:buClr>
                <a:srgbClr val="F5668F"/>
              </a:buClr>
            </a:pPr>
            <a:endParaRPr lang="en-US" altLang="en-US" sz="2200" dirty="0"/>
          </a:p>
          <a:p>
            <a:pPr>
              <a:buClr>
                <a:srgbClr val="F5668F"/>
              </a:buClr>
            </a:pPr>
            <a:endParaRPr lang="en-US" altLang="en-US" sz="2200" dirty="0"/>
          </a:p>
          <a:p>
            <a:pPr marL="457200" lvl="1" indent="0">
              <a:buClr>
                <a:srgbClr val="004990"/>
              </a:buClr>
              <a:buNone/>
            </a:pPr>
            <a:endParaRPr lang="en-US" altLang="en-US" sz="2200" dirty="0"/>
          </a:p>
          <a:p>
            <a:pPr>
              <a:buClr>
                <a:srgbClr val="F5668F"/>
              </a:buClr>
            </a:pPr>
            <a:endParaRPr lang="en-US" altLang="en-US" dirty="0"/>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2C9DA-B2FC-FE0A-8CD8-390C2E68C5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AF87EB-824D-4AAD-1959-46B53FBC0AD7}"/>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07A3A0A7-E0E9-3BEB-CC74-AE920F5D62B6}"/>
              </a:ext>
            </a:extLst>
          </p:cNvPr>
          <p:cNvSpPr>
            <a:spLocks noGrp="1"/>
          </p:cNvSpPr>
          <p:nvPr>
            <p:ph type="sldNum" sz="quarter" idx="10"/>
          </p:nvPr>
        </p:nvSpPr>
        <p:spPr/>
        <p:txBody>
          <a:bodyPr/>
          <a:lstStyle/>
          <a:p>
            <a:fld id="{97033E4B-E3EB-3D46-B2D8-3159663620FA}" type="slidenum">
              <a:rPr lang="en-US" smtClean="0"/>
              <a:pPr/>
              <a:t>20</a:t>
            </a:fld>
            <a:endParaRPr lang="en-US"/>
          </a:p>
        </p:txBody>
      </p:sp>
      <p:sp>
        <p:nvSpPr>
          <p:cNvPr id="5" name="Footer Placeholder 4">
            <a:extLst>
              <a:ext uri="{FF2B5EF4-FFF2-40B4-BE49-F238E27FC236}">
                <a16:creationId xmlns:a16="http://schemas.microsoft.com/office/drawing/2014/main" id="{4BE0F1CB-6158-97D2-5844-8A7EBBC416CD}"/>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3266C100-4D3C-D7B9-E9D5-CD9A55130E16}"/>
              </a:ext>
            </a:extLst>
          </p:cNvPr>
          <p:cNvSpPr>
            <a:spLocks noGrp="1"/>
          </p:cNvSpPr>
          <p:nvPr>
            <p:ph idx="1"/>
          </p:nvPr>
        </p:nvSpPr>
        <p:spPr>
          <a:xfrm>
            <a:off x="511629" y="1488168"/>
            <a:ext cx="10972800" cy="4351338"/>
          </a:xfrm>
        </p:spPr>
        <p:txBody>
          <a:bodyPr vert="horz" lIns="91440" tIns="45720" rIns="91440" bIns="45720" rtlCol="0" anchor="t">
            <a:noAutofit/>
          </a:bodyPr>
          <a:lstStyle/>
          <a:p>
            <a:pPr fontAlgn="t"/>
            <a:r>
              <a:rPr lang="en-US" sz="3200" b="1" dirty="0">
                <a:ea typeface="Lato"/>
                <a:cs typeface="Lato"/>
              </a:rPr>
              <a:t>Hospital has a standardized process to….</a:t>
            </a:r>
          </a:p>
          <a:p>
            <a:pPr lvl="1" fontAlgn="t"/>
            <a:r>
              <a:rPr lang="en-US" sz="2400" dirty="0">
                <a:ea typeface="Lato"/>
                <a:cs typeface="Lato"/>
              </a:rPr>
              <a:t>Provide parents or caregivers </a:t>
            </a:r>
            <a:r>
              <a:rPr lang="en-US" sz="2400" b="1" u="sng" dirty="0">
                <a:ea typeface="Lato"/>
                <a:cs typeface="Lato"/>
              </a:rPr>
              <a:t>culturally responsive safe sleep education</a:t>
            </a:r>
            <a:r>
              <a:rPr lang="en-US" sz="2400" dirty="0">
                <a:ea typeface="Lato"/>
                <a:cs typeface="Lato"/>
              </a:rPr>
              <a:t> including awareness of potential challenges, modeling, and teach back opportunities during hospitalization.</a:t>
            </a:r>
          </a:p>
          <a:p>
            <a:pPr lvl="2">
              <a:buFont typeface="Wingdings" panose="020B0604020202020204" pitchFamily="34" charset="0"/>
              <a:buChar char="§"/>
            </a:pPr>
            <a:r>
              <a:rPr lang="en-US" sz="2200">
                <a:ea typeface="Lato"/>
                <a:cs typeface="Lato"/>
              </a:rPr>
              <a:t>What is your current process of safe sleep education?</a:t>
            </a:r>
            <a:endParaRPr lang="en-US" sz="2200" dirty="0">
              <a:ea typeface="Lato"/>
              <a:cs typeface="Lato"/>
            </a:endParaRPr>
          </a:p>
          <a:p>
            <a:pPr lvl="2">
              <a:buFont typeface="Wingdings" panose="020B0604020202020204" pitchFamily="34" charset="0"/>
              <a:buChar char="§"/>
            </a:pPr>
            <a:r>
              <a:rPr lang="en-US" sz="2200">
                <a:ea typeface="Lato"/>
                <a:cs typeface="Lato"/>
              </a:rPr>
              <a:t>How can it be improved?</a:t>
            </a:r>
            <a:endParaRPr lang="en-US" sz="2200" dirty="0">
              <a:ea typeface="Lato"/>
              <a:cs typeface="Lato"/>
            </a:endParaRPr>
          </a:p>
          <a:p>
            <a:pPr lvl="2">
              <a:buClr>
                <a:srgbClr val="F5668F"/>
              </a:buClr>
              <a:buFont typeface="Wingdings" panose="020B0604020202020204" pitchFamily="34" charset="0"/>
              <a:buChar char="§"/>
            </a:pPr>
            <a:endParaRPr lang="en-US" sz="2400" dirty="0">
              <a:ea typeface="Lato"/>
              <a:cs typeface="Lato"/>
            </a:endParaRPr>
          </a:p>
        </p:txBody>
      </p:sp>
    </p:spTree>
    <p:extLst>
      <p:ext uri="{BB962C8B-B14F-4D97-AF65-F5344CB8AC3E}">
        <p14:creationId xmlns:p14="http://schemas.microsoft.com/office/powerpoint/2010/main" val="6510481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1B8BB-22AF-360D-01E7-DD43B9332A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A91DB6-3A6E-3891-1B41-0FB70B5B2E42}"/>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D17DBBC9-773E-5C19-3AB3-5A9ACACBCDF2}"/>
              </a:ext>
            </a:extLst>
          </p:cNvPr>
          <p:cNvSpPr>
            <a:spLocks noGrp="1"/>
          </p:cNvSpPr>
          <p:nvPr>
            <p:ph type="sldNum" sz="quarter" idx="10"/>
          </p:nvPr>
        </p:nvSpPr>
        <p:spPr/>
        <p:txBody>
          <a:bodyPr/>
          <a:lstStyle/>
          <a:p>
            <a:fld id="{97033E4B-E3EB-3D46-B2D8-3159663620FA}" type="slidenum">
              <a:rPr lang="en-US" smtClean="0"/>
              <a:pPr/>
              <a:t>21</a:t>
            </a:fld>
            <a:endParaRPr lang="en-US"/>
          </a:p>
        </p:txBody>
      </p:sp>
      <p:sp>
        <p:nvSpPr>
          <p:cNvPr id="5" name="Footer Placeholder 4">
            <a:extLst>
              <a:ext uri="{FF2B5EF4-FFF2-40B4-BE49-F238E27FC236}">
                <a16:creationId xmlns:a16="http://schemas.microsoft.com/office/drawing/2014/main" id="{BD27EB9D-5CD8-CA36-B7AD-EF1C8123F787}"/>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A09C94AD-2CF7-519B-2435-D0EABC3FE2E6}"/>
              </a:ext>
            </a:extLst>
          </p:cNvPr>
          <p:cNvSpPr>
            <a:spLocks noGrp="1"/>
          </p:cNvSpPr>
          <p:nvPr>
            <p:ph idx="1"/>
          </p:nvPr>
        </p:nvSpPr>
        <p:spPr>
          <a:xfrm>
            <a:off x="511629" y="1488168"/>
            <a:ext cx="10972800" cy="4351338"/>
          </a:xfrm>
        </p:spPr>
        <p:txBody>
          <a:bodyPr vert="horz" lIns="91440" tIns="45720" rIns="91440" bIns="45720" rtlCol="0" anchor="t">
            <a:noAutofit/>
          </a:bodyPr>
          <a:lstStyle/>
          <a:p>
            <a:pPr fontAlgn="t"/>
            <a:r>
              <a:rPr lang="en-US" sz="3200" b="1">
                <a:ea typeface="Lato"/>
                <a:cs typeface="Lato"/>
              </a:rPr>
              <a:t>Hospital has a standardized process to….</a:t>
            </a:r>
          </a:p>
          <a:p>
            <a:pPr lvl="1" fontAlgn="t"/>
            <a:r>
              <a:rPr lang="en-US" sz="2400" dirty="0">
                <a:ea typeface="Lato"/>
                <a:cs typeface="Lato"/>
              </a:rPr>
              <a:t>Identify </a:t>
            </a:r>
            <a:r>
              <a:rPr lang="en-US" sz="2400" b="1" u="sng" dirty="0">
                <a:ea typeface="Lato"/>
                <a:cs typeface="Lato"/>
              </a:rPr>
              <a:t>barriers to providing a safe sleep environment </a:t>
            </a:r>
            <a:r>
              <a:rPr lang="en-US" sz="2400" dirty="0">
                <a:ea typeface="Lato"/>
                <a:cs typeface="Lato"/>
              </a:rPr>
              <a:t>outside of the hospital.</a:t>
            </a:r>
          </a:p>
          <a:p>
            <a:pPr lvl="1" fontAlgn="t"/>
            <a:r>
              <a:rPr lang="en-US" sz="2400" dirty="0">
                <a:ea typeface="Lato"/>
                <a:cs typeface="Lato"/>
              </a:rPr>
              <a:t>Provide </a:t>
            </a:r>
            <a:r>
              <a:rPr lang="en-US" sz="2400" b="1" u="sng" dirty="0">
                <a:ea typeface="Lato"/>
                <a:cs typeface="Lato"/>
              </a:rPr>
              <a:t>resources to enable a safe sleep environment </a:t>
            </a:r>
            <a:r>
              <a:rPr lang="en-US" sz="2400" dirty="0">
                <a:ea typeface="Lato"/>
                <a:cs typeface="Lato"/>
              </a:rPr>
              <a:t>outside of the hospital.</a:t>
            </a:r>
          </a:p>
          <a:p>
            <a:pPr lvl="1" fontAlgn="t"/>
            <a:r>
              <a:rPr lang="en-US" sz="2400" dirty="0">
                <a:ea typeface="Lato"/>
                <a:cs typeface="Lato"/>
              </a:rPr>
              <a:t>Screen for </a:t>
            </a:r>
            <a:r>
              <a:rPr lang="en-US" sz="2400" b="1" u="sng" dirty="0">
                <a:ea typeface="Lato"/>
                <a:cs typeface="Lato"/>
              </a:rPr>
              <a:t>newborn inclusive Social Determinants of Health </a:t>
            </a:r>
            <a:r>
              <a:rPr lang="en-US" sz="2400" dirty="0">
                <a:ea typeface="Lato"/>
                <a:cs typeface="Lato"/>
              </a:rPr>
              <a:t>and to link to needed resources.</a:t>
            </a:r>
          </a:p>
          <a:p>
            <a:pPr marL="342900" indent="-342900">
              <a:buClr>
                <a:srgbClr val="F5668F"/>
              </a:buClr>
              <a:buFont typeface="Calibri" panose="020F0502020204030204"/>
              <a:buAutoNum type="arabicPeriod"/>
            </a:pPr>
            <a:endParaRPr lang="en-US" sz="1800" dirty="0"/>
          </a:p>
        </p:txBody>
      </p:sp>
    </p:spTree>
    <p:extLst>
      <p:ext uri="{BB962C8B-B14F-4D97-AF65-F5344CB8AC3E}">
        <p14:creationId xmlns:p14="http://schemas.microsoft.com/office/powerpoint/2010/main" val="329698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44087-CE72-FC4B-4051-6060C879DA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B8D32D-C30E-7FF2-DD56-D84E932FAD70}"/>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5EF6FC67-CD3D-9975-224A-C9211B161B0F}"/>
              </a:ext>
            </a:extLst>
          </p:cNvPr>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539CB318-7967-9EFE-3116-9D24BD808AC9}"/>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0ED66B27-0F11-86B9-EFB0-3CA28DD48605}"/>
              </a:ext>
            </a:extLst>
          </p:cNvPr>
          <p:cNvSpPr>
            <a:spLocks noGrp="1"/>
          </p:cNvSpPr>
          <p:nvPr>
            <p:ph idx="1"/>
          </p:nvPr>
        </p:nvSpPr>
        <p:spPr>
          <a:xfrm>
            <a:off x="511629" y="1488168"/>
            <a:ext cx="10972800" cy="4351338"/>
          </a:xfrm>
        </p:spPr>
        <p:txBody>
          <a:bodyPr vert="horz" lIns="91440" tIns="45720" rIns="91440" bIns="45720" rtlCol="0" anchor="t">
            <a:noAutofit/>
          </a:bodyPr>
          <a:lstStyle/>
          <a:p>
            <a:pPr fontAlgn="t"/>
            <a:r>
              <a:rPr lang="en-US" sz="3200" b="1" dirty="0">
                <a:ea typeface="Lato"/>
                <a:cs typeface="Lato"/>
              </a:rPr>
              <a:t>Hospital has a standardized process to….</a:t>
            </a:r>
          </a:p>
          <a:p>
            <a:pPr lvl="1" fontAlgn="t"/>
            <a:r>
              <a:rPr lang="en-US" sz="2400" b="1" u="sng" dirty="0">
                <a:ea typeface="Lato"/>
                <a:cs typeface="Lato"/>
              </a:rPr>
              <a:t>Transfer of care </a:t>
            </a:r>
            <a:r>
              <a:rPr lang="en-US" sz="2400" dirty="0">
                <a:ea typeface="Lato"/>
                <a:cs typeface="Lato"/>
              </a:rPr>
              <a:t>to the newborn’s community provider, including documentation of ESSI Newborn Care Plan.</a:t>
            </a:r>
          </a:p>
          <a:p>
            <a:pPr lvl="1" fontAlgn="t"/>
            <a:r>
              <a:rPr lang="en-US" sz="2400" dirty="0">
                <a:ea typeface="Lato"/>
                <a:cs typeface="Lato"/>
              </a:rPr>
              <a:t>The collection of </a:t>
            </a:r>
            <a:r>
              <a:rPr lang="en-US" sz="2400" b="1" u="sng" dirty="0">
                <a:ea typeface="Lato"/>
                <a:cs typeface="Lato"/>
              </a:rPr>
              <a:t>parent-reported newborn race and ethnicity data</a:t>
            </a:r>
            <a:r>
              <a:rPr lang="en-US" sz="2400" dirty="0">
                <a:ea typeface="Lato"/>
                <a:cs typeface="Lato"/>
              </a:rPr>
              <a:t>.</a:t>
            </a:r>
          </a:p>
          <a:p>
            <a:pPr lvl="1" fontAlgn="t"/>
            <a:r>
              <a:rPr lang="en-US" sz="2400" b="1" u="sng" dirty="0">
                <a:ea typeface="Lato"/>
                <a:cs typeface="Lato"/>
              </a:rPr>
              <a:t>Stratify and share neonatal data </a:t>
            </a:r>
            <a:r>
              <a:rPr lang="en-US" sz="2400" dirty="0">
                <a:ea typeface="Lato"/>
                <a:cs typeface="Lato"/>
              </a:rPr>
              <a:t>by birthing person’s race, ethnicity, and insurance status.</a:t>
            </a:r>
          </a:p>
          <a:p>
            <a:pPr lvl="1" fontAlgn="t"/>
            <a:r>
              <a:rPr lang="en-US" sz="2400" b="1" u="sng" dirty="0">
                <a:ea typeface="Lato"/>
                <a:cs typeface="Lato"/>
              </a:rPr>
              <a:t>Address disparities </a:t>
            </a:r>
            <a:r>
              <a:rPr lang="en-US" sz="2400" dirty="0">
                <a:ea typeface="Lato"/>
                <a:cs typeface="Lato"/>
              </a:rPr>
              <a:t>based on review of neonatal outcomes stratified by birthing person’s race, ethnicity, and insurance status.</a:t>
            </a:r>
          </a:p>
          <a:p>
            <a:pPr marL="342900" indent="-342900">
              <a:buFont typeface="+mj-lt"/>
              <a:buAutoNum type="arabicPeriod"/>
            </a:pPr>
            <a:endParaRPr lang="en-US" sz="1800" dirty="0"/>
          </a:p>
        </p:txBody>
      </p:sp>
    </p:spTree>
    <p:extLst>
      <p:ext uri="{BB962C8B-B14F-4D97-AF65-F5344CB8AC3E}">
        <p14:creationId xmlns:p14="http://schemas.microsoft.com/office/powerpoint/2010/main" val="4002180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10352"/>
            <a:ext cx="10972800" cy="1325563"/>
          </a:xfrm>
          <a:noFill/>
        </p:spPr>
        <p:txBody>
          <a:bodyPr/>
          <a:lstStyle/>
          <a:p>
            <a:r>
              <a:rPr lang="en-US" dirty="0"/>
              <a:t>Hospital Level Data Form: </a:t>
            </a:r>
            <a:br>
              <a:rPr lang="en-US" dirty="0"/>
            </a:br>
            <a:r>
              <a:rPr lang="en-US" b="0" dirty="0"/>
              <a:t>Safe Sleep Environment Audit</a:t>
            </a:r>
          </a:p>
        </p:txBody>
      </p:sp>
      <p:graphicFrame>
        <p:nvGraphicFramePr>
          <p:cNvPr id="6" name="Content Placeholder 5"/>
          <p:cNvGraphicFramePr>
            <a:graphicFrameLocks noGrp="1"/>
          </p:cNvGraphicFramePr>
          <p:nvPr>
            <p:ph idx="1"/>
          </p:nvPr>
        </p:nvGraphicFramePr>
        <p:xfrm>
          <a:off x="6306819" y="2406209"/>
          <a:ext cx="5275581" cy="3180040"/>
        </p:xfrm>
        <a:graphic>
          <a:graphicData uri="http://schemas.openxmlformats.org/drawingml/2006/table">
            <a:tbl>
              <a:tblPr firstRow="1" firstCol="1" bandRow="1">
                <a:tableStyleId>{F5AB1C69-6EDB-4FF4-983F-18BD219EF322}</a:tableStyleId>
              </a:tblPr>
              <a:tblGrid>
                <a:gridCol w="3918455">
                  <a:extLst>
                    <a:ext uri="{9D8B030D-6E8A-4147-A177-3AD203B41FA5}">
                      <a16:colId xmlns:a16="http://schemas.microsoft.com/office/drawing/2014/main" val="2155618341"/>
                    </a:ext>
                  </a:extLst>
                </a:gridCol>
                <a:gridCol w="1357126">
                  <a:extLst>
                    <a:ext uri="{9D8B030D-6E8A-4147-A177-3AD203B41FA5}">
                      <a16:colId xmlns:a16="http://schemas.microsoft.com/office/drawing/2014/main" val="3127340574"/>
                    </a:ext>
                  </a:extLst>
                </a:gridCol>
              </a:tblGrid>
              <a:tr h="200025">
                <a:tc gridSpan="2">
                  <a:txBody>
                    <a:bodyPr/>
                    <a:lstStyle/>
                    <a:p>
                      <a:pPr marL="0" marR="0" algn="l">
                        <a:lnSpc>
                          <a:spcPct val="115000"/>
                        </a:lnSpc>
                        <a:spcBef>
                          <a:spcPts val="0"/>
                        </a:spcBef>
                        <a:spcAft>
                          <a:spcPts val="1000"/>
                        </a:spcAft>
                      </a:pPr>
                      <a:r>
                        <a:rPr lang="en-US" sz="2000" dirty="0">
                          <a:effectLst/>
                        </a:rPr>
                        <a:t>Postpartum Unit</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3019059648"/>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Postpartum unit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26943554"/>
                  </a:ext>
                </a:extLst>
              </a:tr>
              <a:tr h="606574">
                <a:tc>
                  <a:txBody>
                    <a:bodyPr/>
                    <a:lstStyle/>
                    <a:p>
                      <a:pPr marL="0" marR="0" lvl="0" indent="0" algn="l">
                        <a:lnSpc>
                          <a:spcPct val="115000"/>
                        </a:lnSpc>
                        <a:spcBef>
                          <a:spcPts val="0"/>
                        </a:spcBef>
                        <a:spcAft>
                          <a:spcPts val="0"/>
                        </a:spcAft>
                        <a:buFont typeface="+mj-lt"/>
                        <a:buNone/>
                      </a:pPr>
                      <a:r>
                        <a:rPr lang="en-US" sz="1600" dirty="0">
                          <a:effectLst/>
                        </a:rPr>
                        <a:t>Number of audited infants on Postpartum unit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98229208"/>
                  </a:ext>
                </a:extLst>
              </a:tr>
              <a:tr h="190500">
                <a:tc gridSpan="2">
                  <a:txBody>
                    <a:bodyPr/>
                    <a:lstStyle/>
                    <a:p>
                      <a:pPr marL="0" marR="0" indent="0" algn="l">
                        <a:lnSpc>
                          <a:spcPct val="115000"/>
                        </a:lnSpc>
                        <a:spcBef>
                          <a:spcPts val="0"/>
                        </a:spcBef>
                        <a:spcAft>
                          <a:spcPts val="0"/>
                        </a:spcAft>
                        <a:buFont typeface="+mj-lt"/>
                        <a:buNone/>
                      </a:pPr>
                      <a:r>
                        <a:rPr lang="en-US" sz="2000" dirty="0">
                          <a:effectLst/>
                        </a:rPr>
                        <a:t>Special Care Nursery or NICU</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610599144"/>
                  </a:ext>
                </a:extLst>
              </a:tr>
              <a:tr h="450850">
                <a:tc>
                  <a:txBody>
                    <a:bodyPr/>
                    <a:lstStyle/>
                    <a:p>
                      <a:pPr marL="0" marR="0" lvl="0" indent="0" algn="l">
                        <a:lnSpc>
                          <a:spcPct val="115000"/>
                        </a:lnSpc>
                        <a:spcBef>
                          <a:spcPts val="0"/>
                        </a:spcBef>
                        <a:spcAft>
                          <a:spcPts val="1000"/>
                        </a:spcAft>
                        <a:buFont typeface="+mj-lt"/>
                        <a:buNone/>
                      </a:pPr>
                      <a:r>
                        <a:rPr lang="en-US" sz="1600" dirty="0">
                          <a:effectLst/>
                        </a:rPr>
                        <a:t>Number of infants on Special Care Nursery or NICU audited for safe sleep</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75714632"/>
                  </a:ext>
                </a:extLst>
              </a:tr>
              <a:tr h="450850">
                <a:tc>
                  <a:txBody>
                    <a:bodyPr/>
                    <a:lstStyle/>
                    <a:p>
                      <a:pPr marL="0" marR="0" lvl="0" indent="0" algn="l">
                        <a:lnSpc>
                          <a:spcPct val="115000"/>
                        </a:lnSpc>
                        <a:spcBef>
                          <a:spcPts val="0"/>
                        </a:spcBef>
                        <a:spcAft>
                          <a:spcPts val="0"/>
                        </a:spcAft>
                        <a:buFont typeface="+mj-lt"/>
                        <a:buNone/>
                      </a:pPr>
                      <a:r>
                        <a:rPr lang="en-US" sz="1600" dirty="0">
                          <a:effectLst/>
                        </a:rPr>
                        <a:t>Number of audited infants on Special Care Nursery or NICU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37793256"/>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2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Rectangle 6"/>
          <p:cNvSpPr/>
          <p:nvPr/>
        </p:nvSpPr>
        <p:spPr>
          <a:xfrm>
            <a:off x="503646" y="1642493"/>
            <a:ext cx="5592354" cy="4427879"/>
          </a:xfrm>
          <a:prstGeom prst="rect">
            <a:avLst/>
          </a:prstGeom>
        </p:spPr>
        <p:txBody>
          <a:bodyPr wrap="square">
            <a:spAutoFit/>
          </a:bodyPr>
          <a:lstStyle/>
          <a:p>
            <a:pPr marL="342900" lvl="0" indent="-342900">
              <a:lnSpc>
                <a:spcPct val="115000"/>
              </a:lnSpc>
              <a:spcAft>
                <a:spcPts val="1000"/>
              </a:spcAft>
              <a:buFont typeface="Symbol" panose="05050102010706020507" pitchFamily="18" charset="2"/>
              <a:buChar char=""/>
            </a:pPr>
            <a:r>
              <a:rPr lang="en-US" dirty="0"/>
              <a:t>Audits should be conducted monthly for 20 infants on your postpartum unit that are eligible for safe sleep. This includes rooming-in with the parent(s) or caregiver(s)</a:t>
            </a:r>
          </a:p>
          <a:p>
            <a:pPr marL="342900" lvl="0" indent="-342900">
              <a:lnSpc>
                <a:spcPct val="115000"/>
              </a:lnSpc>
              <a:spcAft>
                <a:spcPts val="1000"/>
              </a:spcAft>
              <a:buFont typeface="Symbol" panose="05050102010706020507" pitchFamily="18" charset="2"/>
              <a:buChar char=""/>
            </a:pPr>
            <a:r>
              <a:rPr lang="en-US" dirty="0"/>
              <a:t>If you have a NICU or Special Care Nursery, please complete an additional 20 audits for infants in your NICU or Special Care Nursery</a:t>
            </a:r>
          </a:p>
          <a:p>
            <a:pPr marL="342900" lvl="0" indent="-342900">
              <a:lnSpc>
                <a:spcPct val="115000"/>
              </a:lnSpc>
              <a:spcAft>
                <a:spcPts val="1000"/>
              </a:spcAft>
              <a:buFont typeface="Symbol" panose="05050102010706020507" pitchFamily="18" charset="2"/>
              <a:buChar char=""/>
            </a:pPr>
            <a:r>
              <a:rPr lang="en-US" dirty="0"/>
              <a:t>Infants excluded from the audit are those that are medically unsuitable for safe sleep practices</a:t>
            </a:r>
          </a:p>
          <a:p>
            <a:pPr marL="342900" lvl="0" indent="-342900">
              <a:lnSpc>
                <a:spcPct val="115000"/>
              </a:lnSpc>
              <a:spcAft>
                <a:spcPts val="1000"/>
              </a:spcAft>
              <a:buFont typeface="Symbol" panose="05050102010706020507" pitchFamily="18" charset="2"/>
              <a:buChar char=""/>
            </a:pPr>
            <a:r>
              <a:rPr lang="en-US" dirty="0"/>
              <a:t>If there are fewer than 20 eligible infants on a unit to audit, audit all eligible infants available</a:t>
            </a:r>
          </a:p>
          <a:p>
            <a:pPr marL="342900" lvl="0" indent="-342900">
              <a:lnSpc>
                <a:spcPct val="115000"/>
              </a:lnSpc>
              <a:spcAft>
                <a:spcPts val="1000"/>
              </a:spcAft>
              <a:buFont typeface="Symbol" panose="05050102010706020507" pitchFamily="18" charset="2"/>
              <a:buChar char=""/>
            </a:pPr>
            <a:r>
              <a:rPr lang="en-US" dirty="0"/>
              <a:t>Please conduct audits on both day shift and night shif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748593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41C5CA-0913-563C-145B-0EAD56152F25}"/>
              </a:ext>
            </a:extLst>
          </p:cNvPr>
          <p:cNvSpPr>
            <a:spLocks noGrp="1"/>
          </p:cNvSpPr>
          <p:nvPr>
            <p:ph type="title"/>
          </p:nvPr>
        </p:nvSpPr>
        <p:spPr/>
        <p:txBody>
          <a:bodyPr/>
          <a:lstStyle/>
          <a:p>
            <a:r>
              <a:rPr lang="en-US">
                <a:ea typeface="Lato Medium"/>
                <a:cs typeface="Lato Medium"/>
              </a:rPr>
              <a:t>Audit Forms</a:t>
            </a:r>
            <a:endParaRPr lang="en-US" dirty="0"/>
          </a:p>
        </p:txBody>
      </p:sp>
      <p:pic>
        <p:nvPicPr>
          <p:cNvPr id="6" name="Content Placeholder 5" descr="A chart with text on it&#10;&#10;Description automatically generated">
            <a:extLst>
              <a:ext uri="{FF2B5EF4-FFF2-40B4-BE49-F238E27FC236}">
                <a16:creationId xmlns:a16="http://schemas.microsoft.com/office/drawing/2014/main" id="{5D798CB4-85CD-7604-81E0-0418B591C559}"/>
              </a:ext>
            </a:extLst>
          </p:cNvPr>
          <p:cNvPicPr>
            <a:picLocks noGrp="1" noChangeAspect="1"/>
          </p:cNvPicPr>
          <p:nvPr>
            <p:ph idx="1"/>
          </p:nvPr>
        </p:nvPicPr>
        <p:blipFill>
          <a:blip r:embed="rId2"/>
          <a:stretch>
            <a:fillRect/>
          </a:stretch>
        </p:blipFill>
        <p:spPr>
          <a:xfrm>
            <a:off x="609600" y="2391073"/>
            <a:ext cx="10972800" cy="4025573"/>
          </a:xfrm>
        </p:spPr>
      </p:pic>
      <p:sp>
        <p:nvSpPr>
          <p:cNvPr id="4" name="Slide Number Placeholder 3">
            <a:extLst>
              <a:ext uri="{FF2B5EF4-FFF2-40B4-BE49-F238E27FC236}">
                <a16:creationId xmlns:a16="http://schemas.microsoft.com/office/drawing/2014/main" id="{4CB39673-1663-67EE-C108-0BE1C54A09D0}"/>
              </a:ext>
            </a:extLst>
          </p:cNvPr>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a:extLst>
              <a:ext uri="{FF2B5EF4-FFF2-40B4-BE49-F238E27FC236}">
                <a16:creationId xmlns:a16="http://schemas.microsoft.com/office/drawing/2014/main" id="{3E8FDA39-F6A0-DD9A-F1EA-5306A082C9EA}"/>
              </a:ext>
            </a:extLst>
          </p:cNvPr>
          <p:cNvSpPr>
            <a:spLocks noGrp="1"/>
          </p:cNvSpPr>
          <p:nvPr>
            <p:ph type="ftr" sz="quarter" idx="11"/>
          </p:nvPr>
        </p:nvSpPr>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CC4DBCEB-6265-3F16-22D2-CF9C7C016880}"/>
              </a:ext>
            </a:extLst>
          </p:cNvPr>
          <p:cNvSpPr/>
          <p:nvPr/>
        </p:nvSpPr>
        <p:spPr>
          <a:xfrm>
            <a:off x="1512020" y="1550146"/>
            <a:ext cx="9330905" cy="73324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cs typeface="Calibri"/>
              </a:rPr>
              <a:t>In the ESSI toolkit, the Cribs for Kids Audit form is available. Many teams use this </a:t>
            </a:r>
            <a:r>
              <a:rPr lang="en-US" sz="2000">
                <a:cs typeface="Calibri"/>
              </a:rPr>
              <a:t>already, but you are welcome to use one your hospital has created or create your own!</a:t>
            </a:r>
            <a:endParaRPr lang="en-US" sz="2000" dirty="0">
              <a:cs typeface="Calibri"/>
            </a:endParaRPr>
          </a:p>
        </p:txBody>
      </p:sp>
    </p:spTree>
    <p:extLst>
      <p:ext uri="{BB962C8B-B14F-4D97-AF65-F5344CB8AC3E}">
        <p14:creationId xmlns:p14="http://schemas.microsoft.com/office/powerpoint/2010/main" val="3279958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899" y="554544"/>
            <a:ext cx="5828376" cy="956924"/>
          </a:xfrm>
          <a:noFill/>
        </p:spPr>
        <p:txBody>
          <a:bodyPr anchor="b">
            <a:normAutofit/>
          </a:bodyPr>
          <a:lstStyle/>
          <a:p>
            <a:r>
              <a:rPr lang="en-US" sz="4800">
                <a:solidFill>
                  <a:schemeClr val="tx1"/>
                </a:solidFill>
              </a:rPr>
              <a:t>Education Measures</a:t>
            </a:r>
          </a:p>
        </p:txBody>
      </p:sp>
      <p:sp>
        <p:nvSpPr>
          <p:cNvPr id="4" name="Slide Number Placeholder 3"/>
          <p:cNvSpPr>
            <a:spLocks noGrp="1"/>
          </p:cNvSpPr>
          <p:nvPr>
            <p:ph type="sldNum" sz="quarter" idx="10"/>
          </p:nvPr>
        </p:nvSpPr>
        <p:spPr>
          <a:xfrm>
            <a:off x="11363715" y="-8779"/>
            <a:ext cx="826763" cy="704121"/>
          </a:xfrm>
        </p:spPr>
        <p:txBody>
          <a:bodyPr>
            <a:normAutofit/>
          </a:bodyPr>
          <a:lstStyle/>
          <a:p>
            <a:pPr algn="ctr">
              <a:spcAft>
                <a:spcPts val="600"/>
              </a:spcAft>
            </a:pPr>
            <a:fld id="{97033E4B-E3EB-3D46-B2D8-3159663620FA}" type="slidenum">
              <a:rPr lang="en-US" smtClean="0"/>
              <a:pPr algn="ctr">
                <a:spcAft>
                  <a:spcPts val="600"/>
                </a:spcAft>
              </a:pPr>
              <a:t>25</a:t>
            </a:fld>
            <a:endParaRPr lang="en-US"/>
          </a:p>
        </p:txBody>
      </p:sp>
      <p:sp>
        <p:nvSpPr>
          <p:cNvPr id="10" name="Content Placeholder 9"/>
          <p:cNvSpPr>
            <a:spLocks noGrp="1"/>
          </p:cNvSpPr>
          <p:nvPr>
            <p:ph idx="1"/>
          </p:nvPr>
        </p:nvSpPr>
        <p:spPr>
          <a:xfrm>
            <a:off x="336635" y="1586490"/>
            <a:ext cx="5828376" cy="4504426"/>
          </a:xfrm>
        </p:spPr>
        <p:txBody>
          <a:bodyPr anchor="t">
            <a:normAutofit lnSpcReduction="10000"/>
          </a:bodyPr>
          <a:lstStyle/>
          <a:p>
            <a:r>
              <a:rPr lang="en-US" sz="2000" dirty="0">
                <a:ea typeface="Lato"/>
                <a:cs typeface="Calibri"/>
              </a:rPr>
              <a:t>Percentage of physicians and providers, nurses, ancillary clinicians, and other staff completing education about…</a:t>
            </a:r>
          </a:p>
          <a:p>
            <a:pPr lvl="1">
              <a:buClr>
                <a:srgbClr val="1C498B"/>
              </a:buClr>
            </a:pPr>
            <a:r>
              <a:rPr lang="en-US" dirty="0">
                <a:ea typeface="Lato"/>
                <a:cs typeface="Calibri"/>
              </a:rPr>
              <a:t>listening to parents and caregivers, providing respectful care and building trust, addressing implicit bias and engaging in anti-racism </a:t>
            </a:r>
          </a:p>
          <a:p>
            <a:pPr lvl="1">
              <a:buClr>
                <a:srgbClr val="1C498B"/>
              </a:buClr>
            </a:pPr>
            <a:r>
              <a:rPr lang="en-US" dirty="0">
                <a:ea typeface="Lato"/>
                <a:cs typeface="Calibri"/>
              </a:rPr>
              <a:t>the importance of safe sleep and how to effectively educate parents or caregivers</a:t>
            </a:r>
            <a:endParaRPr lang="en-US" dirty="0">
              <a:ea typeface="Lato"/>
            </a:endParaRPr>
          </a:p>
          <a:p>
            <a:r>
              <a:rPr lang="en-US" sz="2000" dirty="0">
                <a:ea typeface="Lato"/>
                <a:cs typeface="Lato"/>
              </a:rPr>
              <a:t>Once you have the education structure measures in place, you will report what percent of physicians, nurses, ancillary clinicians and other staff that have completed educational requirements</a:t>
            </a:r>
          </a:p>
          <a:p>
            <a:pPr marL="0" indent="0">
              <a:buNone/>
            </a:pPr>
            <a:endParaRPr lang="en-US" sz="1800" dirty="0">
              <a:ea typeface="Lato"/>
              <a:cs typeface="Lato"/>
            </a:endParaRPr>
          </a:p>
          <a:p>
            <a:pPr marL="457200" lvl="1" indent="0">
              <a:buClr>
                <a:srgbClr val="1C498B"/>
              </a:buClr>
              <a:buNone/>
            </a:pPr>
            <a:endParaRPr lang="en-US" sz="1800" dirty="0"/>
          </a:p>
          <a:p>
            <a:pPr marL="0" indent="0">
              <a:buNone/>
            </a:pPr>
            <a:endParaRPr lang="en-US" sz="1800"/>
          </a:p>
        </p:txBody>
      </p:sp>
      <p:sp>
        <p:nvSpPr>
          <p:cNvPr id="5" name="Footer Placeholder 4"/>
          <p:cNvSpPr>
            <a:spLocks noGrp="1"/>
          </p:cNvSpPr>
          <p:nvPr>
            <p:ph type="ftr" sz="quarter" idx="11"/>
          </p:nvPr>
        </p:nvSpPr>
        <p:spPr>
          <a:xfrm>
            <a:off x="6827521" y="6117966"/>
            <a:ext cx="4114800" cy="761237"/>
          </a:xfrm>
        </p:spPr>
        <p:txBody>
          <a:bodyPr>
            <a:normAutofit/>
          </a:bodyPr>
          <a:lstStyle/>
          <a:p>
            <a:pPr algn="r">
              <a:spcAft>
                <a:spcPts val="600"/>
              </a:spcAft>
            </a:pPr>
            <a:r>
              <a:rPr lang="en-US"/>
              <a:t>Illinois Perinatal Quality Collaborative</a:t>
            </a:r>
          </a:p>
        </p:txBody>
      </p:sp>
      <p:pic>
        <p:nvPicPr>
          <p:cNvPr id="12" name="Picture 11" descr="Desk with stethoscope and computer keyboard">
            <a:extLst>
              <a:ext uri="{FF2B5EF4-FFF2-40B4-BE49-F238E27FC236}">
                <a16:creationId xmlns:a16="http://schemas.microsoft.com/office/drawing/2014/main" id="{ADA65492-88D0-2A8E-83EE-B00D4D4CD6D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748002" y="-1"/>
            <a:ext cx="4612337" cy="6149783"/>
          </a:xfrm>
          <a:prstGeom prst="rect">
            <a:avLst/>
          </a:prstGeom>
        </p:spPr>
      </p:pic>
    </p:spTree>
    <p:extLst>
      <p:ext uri="{BB962C8B-B14F-4D97-AF65-F5344CB8AC3E}">
        <p14:creationId xmlns:p14="http://schemas.microsoft.com/office/powerpoint/2010/main" val="1549218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F8777-758C-FAF2-E632-AA95D1A84CE7}"/>
              </a:ext>
            </a:extLst>
          </p:cNvPr>
          <p:cNvSpPr>
            <a:spLocks noGrp="1"/>
          </p:cNvSpPr>
          <p:nvPr>
            <p:ph type="title"/>
          </p:nvPr>
        </p:nvSpPr>
        <p:spPr/>
        <p:txBody>
          <a:bodyPr/>
          <a:lstStyle/>
          <a:p>
            <a:r>
              <a:rPr lang="en-US">
                <a:ea typeface="Lato Medium"/>
                <a:cs typeface="Lato Medium"/>
              </a:rPr>
              <a:t>Patient Level Data Form</a:t>
            </a:r>
            <a:endParaRPr lang="en-US"/>
          </a:p>
        </p:txBody>
      </p:sp>
      <p:sp>
        <p:nvSpPr>
          <p:cNvPr id="3" name="Content Placeholder 2">
            <a:extLst>
              <a:ext uri="{FF2B5EF4-FFF2-40B4-BE49-F238E27FC236}">
                <a16:creationId xmlns:a16="http://schemas.microsoft.com/office/drawing/2014/main" id="{AF23E682-DF1B-CD72-993B-F85306E73D4C}"/>
              </a:ext>
            </a:extLst>
          </p:cNvPr>
          <p:cNvSpPr>
            <a:spLocks noGrp="1"/>
          </p:cNvSpPr>
          <p:nvPr>
            <p:ph idx="1"/>
          </p:nvPr>
        </p:nvSpPr>
        <p:spPr>
          <a:xfrm>
            <a:off x="609600" y="1444625"/>
            <a:ext cx="10972800" cy="4351338"/>
          </a:xfrm>
        </p:spPr>
        <p:txBody>
          <a:bodyPr vert="horz" lIns="91440" tIns="45720" rIns="91440" bIns="45720" rtlCol="0" anchor="t">
            <a:noAutofit/>
          </a:bodyPr>
          <a:lstStyle/>
          <a:p>
            <a:r>
              <a:rPr lang="en-US" sz="2000" b="1" dirty="0">
                <a:ea typeface="Lato"/>
                <a:cs typeface="Calibri"/>
              </a:rPr>
              <a:t>Eligibility criteria: Collect data from infants discharged to home / caregiver. *This is a different process than the Sleep Environment Audit conducted on the ESSI Monthly Hospital Data Form.*</a:t>
            </a:r>
            <a:endParaRPr lang="en-US" sz="2000">
              <a:ea typeface="Lato"/>
            </a:endParaRPr>
          </a:p>
          <a:p>
            <a:r>
              <a:rPr lang="en-US" sz="2000" b="1" dirty="0">
                <a:ea typeface="Lato"/>
                <a:cs typeface="Calibri"/>
              </a:rPr>
              <a:t>Exclusion Criteria: Infants who died before discharge or transferred to other hospitals for care and / or infants with complex medical / surgical issues (e.g., genetic abnormalities, congenital heart disease). Exclude infants discharged from a pediatric unit. </a:t>
            </a:r>
            <a:endParaRPr lang="en-US" sz="2000" dirty="0"/>
          </a:p>
          <a:p>
            <a:r>
              <a:rPr lang="en-US" sz="2000" dirty="0">
                <a:ea typeface="+mn-lt"/>
                <a:cs typeface="+mn-lt"/>
              </a:rPr>
              <a:t>The goal is to review a sample of 20 infants a month from each neonatal unit (e.g., NICU, Special Care Nursery, Infant Nursery, postpartum)</a:t>
            </a:r>
            <a:endParaRPr lang="en-US" sz="2000" dirty="0"/>
          </a:p>
          <a:p>
            <a:pPr lvl="1">
              <a:buClr>
                <a:srgbClr val="1C498B"/>
              </a:buClr>
              <a:buFont typeface="Courier New" panose="020B0604020202020204" pitchFamily="34" charset="0"/>
              <a:buChar char="o"/>
            </a:pPr>
            <a:r>
              <a:rPr lang="en-US" sz="1600" dirty="0">
                <a:ea typeface="+mn-lt"/>
                <a:cs typeface="+mn-lt"/>
              </a:rPr>
              <a:t>Example 1: If your hospital has </a:t>
            </a:r>
            <a:r>
              <a:rPr lang="en-US" sz="1600" b="1" u="sng" dirty="0">
                <a:ea typeface="+mn-lt"/>
                <a:cs typeface="+mn-lt"/>
              </a:rPr>
              <a:t>100 neonates discharged in a month</a:t>
            </a:r>
            <a:r>
              <a:rPr lang="en-US" sz="1600" dirty="0">
                <a:ea typeface="+mn-lt"/>
                <a:cs typeface="+mn-lt"/>
              </a:rPr>
              <a:t>, then divide 100 by 20=5 and you will select every 5th newborn discharge for that month from each unit that discharges neonates</a:t>
            </a:r>
            <a:endParaRPr lang="en-US" sz="1600" dirty="0"/>
          </a:p>
          <a:p>
            <a:pPr lvl="1">
              <a:buClr>
                <a:srgbClr val="1C498B"/>
              </a:buClr>
              <a:buFont typeface="Courier New" panose="020B0604020202020204" pitchFamily="34" charset="0"/>
              <a:buChar char="o"/>
            </a:pPr>
            <a:r>
              <a:rPr lang="en-US" sz="1600" dirty="0">
                <a:ea typeface="Lato"/>
                <a:cs typeface="Calibri"/>
              </a:rPr>
              <a:t>Example 2: If your hospital has </a:t>
            </a:r>
            <a:r>
              <a:rPr lang="en-US" sz="1600" b="1" u="sng" dirty="0">
                <a:ea typeface="Lato"/>
                <a:cs typeface="Calibri"/>
              </a:rPr>
              <a:t>35 neonates discharged in a month</a:t>
            </a:r>
            <a:r>
              <a:rPr lang="en-US" sz="1600" dirty="0">
                <a:ea typeface="Lato"/>
                <a:cs typeface="Calibri"/>
              </a:rPr>
              <a:t>, then 35 divided by 20 is 1.75 and you will select every 2nd newborn discharge for that month from each unit that discharges neonates</a:t>
            </a:r>
            <a:endParaRPr lang="en-US" sz="1600">
              <a:ea typeface="Lato"/>
            </a:endParaRPr>
          </a:p>
        </p:txBody>
      </p:sp>
      <p:sp>
        <p:nvSpPr>
          <p:cNvPr id="4" name="Slide Number Placeholder 3">
            <a:extLst>
              <a:ext uri="{FF2B5EF4-FFF2-40B4-BE49-F238E27FC236}">
                <a16:creationId xmlns:a16="http://schemas.microsoft.com/office/drawing/2014/main" id="{2C6C5336-F942-344F-3941-293EEC924CD0}"/>
              </a:ext>
            </a:extLst>
          </p:cNvPr>
          <p:cNvSpPr>
            <a:spLocks noGrp="1"/>
          </p:cNvSpPr>
          <p:nvPr>
            <p:ph type="sldNum" sz="quarter" idx="10"/>
          </p:nvPr>
        </p:nvSpPr>
        <p:spPr/>
        <p:txBody>
          <a:bodyPr/>
          <a:lstStyle/>
          <a:p>
            <a:fld id="{97033E4B-E3EB-3D46-B2D8-3159663620FA}" type="slidenum">
              <a:rPr lang="en-US" smtClean="0"/>
              <a:pPr/>
              <a:t>26</a:t>
            </a:fld>
            <a:endParaRPr lang="en-US"/>
          </a:p>
        </p:txBody>
      </p:sp>
      <p:sp>
        <p:nvSpPr>
          <p:cNvPr id="5" name="Footer Placeholder 4">
            <a:extLst>
              <a:ext uri="{FF2B5EF4-FFF2-40B4-BE49-F238E27FC236}">
                <a16:creationId xmlns:a16="http://schemas.microsoft.com/office/drawing/2014/main" id="{465ACCCF-B1CF-51F2-B209-8D25BD8312E4}"/>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26011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a:lstStyle/>
          <a:p>
            <a:r>
              <a:rPr lang="en-US" dirty="0"/>
              <a:t>Patient Level Data Form</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045284219"/>
              </p:ext>
            </p:extLst>
          </p:nvPr>
        </p:nvGraphicFramePr>
        <p:xfrm>
          <a:off x="535725" y="1460650"/>
          <a:ext cx="11237973" cy="4572411"/>
        </p:xfrm>
        <a:graphic>
          <a:graphicData uri="http://schemas.openxmlformats.org/drawingml/2006/table">
            <a:tbl>
              <a:tblPr firstRow="1" firstCol="1" bandRow="1">
                <a:tableStyleId>{21E4AEA4-8DFA-4A89-87EB-49C32662AFE0}</a:tableStyleId>
              </a:tblPr>
              <a:tblGrid>
                <a:gridCol w="4280522">
                  <a:extLst>
                    <a:ext uri="{9D8B030D-6E8A-4147-A177-3AD203B41FA5}">
                      <a16:colId xmlns:a16="http://schemas.microsoft.com/office/drawing/2014/main" val="704742646"/>
                    </a:ext>
                  </a:extLst>
                </a:gridCol>
                <a:gridCol w="4445000">
                  <a:extLst>
                    <a:ext uri="{9D8B030D-6E8A-4147-A177-3AD203B41FA5}">
                      <a16:colId xmlns:a16="http://schemas.microsoft.com/office/drawing/2014/main" val="1180310804"/>
                    </a:ext>
                  </a:extLst>
                </a:gridCol>
                <a:gridCol w="2512451">
                  <a:extLst>
                    <a:ext uri="{9D8B030D-6E8A-4147-A177-3AD203B41FA5}">
                      <a16:colId xmlns:a16="http://schemas.microsoft.com/office/drawing/2014/main" val="3639061267"/>
                    </a:ext>
                  </a:extLst>
                </a:gridCol>
              </a:tblGrid>
              <a:tr h="211819">
                <a:tc gridSpan="3">
                  <a:txBody>
                    <a:bodyPr/>
                    <a:lstStyle/>
                    <a:p>
                      <a:pPr marL="0" marR="0">
                        <a:lnSpc>
                          <a:spcPct val="115000"/>
                        </a:lnSpc>
                        <a:spcBef>
                          <a:spcPts val="0"/>
                        </a:spcBef>
                        <a:spcAft>
                          <a:spcPts val="0"/>
                        </a:spcAft>
                      </a:pPr>
                      <a:r>
                        <a:rPr lang="en-US" sz="2400" dirty="0">
                          <a:effectLst/>
                        </a:rPr>
                        <a:t>Infant Demographics </a:t>
                      </a:r>
                      <a:endParaRPr lang="en-US" sz="2000" dirty="0"/>
                    </a:p>
                  </a:txBody>
                  <a:tcPr marL="68580" marR="68580" marT="0" marB="0" anchor="ctr"/>
                </a:tc>
                <a:tc hMerge="1">
                  <a:txBody>
                    <a:bodyPr/>
                    <a:lstStyle/>
                    <a:p>
                      <a:endParaRPr lang="en-US"/>
                    </a:p>
                  </a:txBody>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297432471"/>
                  </a:ext>
                </a:extLst>
              </a:tr>
              <a:tr h="952500">
                <a:tc>
                  <a:txBody>
                    <a:bodyPr/>
                    <a:lstStyle/>
                    <a:p>
                      <a:pPr marL="0" marR="0">
                        <a:lnSpc>
                          <a:spcPct val="115000"/>
                        </a:lnSpc>
                        <a:spcBef>
                          <a:spcPts val="0"/>
                        </a:spcBef>
                        <a:spcAft>
                          <a:spcPts val="0"/>
                        </a:spcAft>
                      </a:pPr>
                      <a:endParaRPr lang="en-US" sz="2000" dirty="0"/>
                    </a:p>
                    <a:p>
                      <a:pPr marL="0" marR="0">
                        <a:lnSpc>
                          <a:spcPct val="115000"/>
                        </a:lnSpc>
                        <a:spcBef>
                          <a:spcPts val="0"/>
                        </a:spcBef>
                        <a:spcAft>
                          <a:spcPts val="0"/>
                        </a:spcAft>
                      </a:pPr>
                      <a:r>
                        <a:rPr lang="en-US" sz="2000" dirty="0"/>
                        <a:t>Unit infant was discharged from</a:t>
                      </a:r>
                    </a:p>
                    <a:p>
                      <a:pPr marL="0" marR="0">
                        <a:lnSpc>
                          <a:spcPct val="115000"/>
                        </a:lnSpc>
                        <a:spcBef>
                          <a:spcPts val="0"/>
                        </a:spcBef>
                        <a:spcAft>
                          <a:spcPts val="0"/>
                        </a:spcAft>
                      </a:pPr>
                      <a:endParaRPr lang="en-US" sz="2000" dirty="0"/>
                    </a:p>
                  </a:txBody>
                  <a:tcPr marL="68580" marR="68580" marT="0" marB="0"/>
                </a:tc>
                <a:tc gridSpan="2">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t>Neonatal Intensive Care Unit (Level 3/4)</a:t>
                      </a:r>
                    </a:p>
                    <a:p>
                      <a:pPr marL="342900" marR="0" lvl="0" indent="-342900">
                        <a:lnSpc>
                          <a:spcPct val="115000"/>
                        </a:lnSpc>
                        <a:spcBef>
                          <a:spcPts val="0"/>
                        </a:spcBef>
                        <a:spcAft>
                          <a:spcPts val="0"/>
                        </a:spcAft>
                        <a:buFont typeface="Symbol" panose="05050102010706020507" pitchFamily="18" charset="2"/>
                        <a:buChar char=""/>
                      </a:pPr>
                      <a:r>
                        <a:rPr lang="en-US" sz="2000" dirty="0"/>
                        <a:t>Intermediate Care/Special Care Nursery (Level 2/2E)</a:t>
                      </a:r>
                    </a:p>
                    <a:p>
                      <a:pPr marL="342900" marR="0" lvl="0" indent="-342900">
                        <a:lnSpc>
                          <a:spcPct val="115000"/>
                        </a:lnSpc>
                        <a:spcBef>
                          <a:spcPts val="0"/>
                        </a:spcBef>
                        <a:spcAft>
                          <a:spcPts val="0"/>
                        </a:spcAft>
                        <a:buFont typeface="Symbol" panose="05050102010706020507" pitchFamily="18" charset="2"/>
                        <a:buChar char=""/>
                      </a:pPr>
                      <a:r>
                        <a:rPr lang="en-US" sz="2000" dirty="0"/>
                        <a:t>Infant Nursery (Level 1)</a:t>
                      </a: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484820371"/>
                  </a:ext>
                </a:extLst>
              </a:tr>
              <a:tr h="423638">
                <a:tc>
                  <a:txBody>
                    <a:bodyPr/>
                    <a:lstStyle/>
                    <a:p>
                      <a:pPr marL="0" marR="0">
                        <a:lnSpc>
                          <a:spcPct val="115000"/>
                        </a:lnSpc>
                        <a:spcBef>
                          <a:spcPts val="0"/>
                        </a:spcBef>
                        <a:spcAft>
                          <a:spcPts val="1000"/>
                        </a:spcAft>
                      </a:pPr>
                      <a:r>
                        <a:rPr lang="en-US" sz="2000"/>
                        <a:t>Date of Infant Discharge </a:t>
                      </a:r>
                      <a:endParaRPr lang="en-US" sz="2000" dirty="0"/>
                    </a:p>
                  </a:txBody>
                  <a:tcPr marL="68580" marR="68580" marT="0" marB="0"/>
                </a:tc>
                <a:tc gridSpan="2">
                  <a:txBody>
                    <a:bodyPr/>
                    <a:lstStyle/>
                    <a:p>
                      <a:pPr marL="0" marR="0" lvl="0">
                        <a:lnSpc>
                          <a:spcPct val="114999"/>
                        </a:lnSpc>
                        <a:spcBef>
                          <a:spcPts val="0"/>
                        </a:spcBef>
                        <a:spcAft>
                          <a:spcPts val="1000"/>
                        </a:spcAft>
                        <a:buNone/>
                      </a:pPr>
                      <a:r>
                        <a:rPr lang="en-US" sz="2000" dirty="0"/>
                        <a:t>Date of Infant Discharge ____/____/____</a:t>
                      </a:r>
                      <a:endParaRPr lang="en-US" sz="2000">
                        <a:latin typeface="Calibri"/>
                        <a:cs typeface="Times New Roman"/>
                      </a:endParaRP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3574659898"/>
                  </a:ext>
                </a:extLst>
              </a:tr>
              <a:tr h="211819">
                <a:tc>
                  <a:txBody>
                    <a:bodyPr/>
                    <a:lstStyle/>
                    <a:p>
                      <a:pPr marL="0" marR="0">
                        <a:lnSpc>
                          <a:spcPct val="115000"/>
                        </a:lnSpc>
                        <a:spcBef>
                          <a:spcPts val="0"/>
                        </a:spcBef>
                        <a:spcAft>
                          <a:spcPts val="0"/>
                        </a:spcAft>
                      </a:pPr>
                      <a:r>
                        <a:rPr lang="en-US" sz="2000"/>
                        <a:t>Date of Birth</a:t>
                      </a:r>
                    </a:p>
                  </a:txBody>
                  <a:tcPr marL="68580" marR="68580" marT="0" marB="0"/>
                </a:tc>
                <a:tc gridSpan="2">
                  <a:txBody>
                    <a:bodyPr/>
                    <a:lstStyle/>
                    <a:p>
                      <a:pPr marL="0" marR="0" lvl="0" algn="just">
                        <a:lnSpc>
                          <a:spcPct val="114999"/>
                        </a:lnSpc>
                        <a:spcBef>
                          <a:spcPts val="0"/>
                        </a:spcBef>
                        <a:spcAft>
                          <a:spcPts val="1000"/>
                        </a:spcAft>
                        <a:buNone/>
                      </a:pPr>
                      <a:r>
                        <a:rPr lang="en-US" sz="2000" dirty="0"/>
                        <a:t>Date of Birth ____/____/____</a:t>
                      </a:r>
                      <a:endParaRPr lang="en-US" sz="2000">
                        <a:latin typeface="Calibri"/>
                        <a:cs typeface="Times New Roman"/>
                      </a:endParaRP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4167239078"/>
                  </a:ext>
                </a:extLst>
              </a:tr>
              <a:tr h="317500">
                <a:tc>
                  <a:txBody>
                    <a:bodyPr/>
                    <a:lstStyle/>
                    <a:p>
                      <a:pPr marL="0" marR="0">
                        <a:lnSpc>
                          <a:spcPct val="115000"/>
                        </a:lnSpc>
                        <a:spcBef>
                          <a:spcPts val="0"/>
                        </a:spcBef>
                        <a:spcAft>
                          <a:spcPts val="0"/>
                        </a:spcAft>
                      </a:pPr>
                      <a:r>
                        <a:rPr lang="en-US" sz="2000" dirty="0"/>
                        <a:t>Gestational age at birth</a:t>
                      </a:r>
                    </a:p>
                  </a:txBody>
                  <a:tcPr marL="68580" marR="68580" marT="0" marB="0"/>
                </a:tc>
                <a:tc gridSpan="2">
                  <a:txBody>
                    <a:bodyPr/>
                    <a:lstStyle/>
                    <a:p>
                      <a:pPr marL="0" marR="0" lvl="0" algn="just">
                        <a:lnSpc>
                          <a:spcPct val="114999"/>
                        </a:lnSpc>
                        <a:spcBef>
                          <a:spcPts val="0"/>
                        </a:spcBef>
                        <a:spcAft>
                          <a:spcPts val="1000"/>
                        </a:spcAft>
                        <a:buNone/>
                      </a:pPr>
                      <a:r>
                        <a:rPr lang="en-US" sz="2000" dirty="0"/>
                        <a:t>Gestational age, weeks: ____</a:t>
                      </a:r>
                      <a:endParaRPr lang="en-US" sz="2000">
                        <a:latin typeface="Calibri"/>
                        <a:cs typeface="Times New Roman"/>
                      </a:endParaRP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3969910619"/>
                  </a:ext>
                </a:extLst>
              </a:tr>
              <a:tr h="672352">
                <a:tc>
                  <a:txBody>
                    <a:bodyPr/>
                    <a:lstStyle/>
                    <a:p>
                      <a:pPr marL="0" marR="0">
                        <a:lnSpc>
                          <a:spcPct val="115000"/>
                        </a:lnSpc>
                        <a:spcBef>
                          <a:spcPts val="0"/>
                        </a:spcBef>
                        <a:spcAft>
                          <a:spcPts val="1000"/>
                        </a:spcAft>
                      </a:pPr>
                      <a:r>
                        <a:rPr lang="en-US" sz="2000" dirty="0"/>
                        <a:t>Infant Ethnicity (select one)</a:t>
                      </a: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t>Hispanic</a:t>
                      </a:r>
                    </a:p>
                    <a:p>
                      <a:pPr marL="342900" marR="0" lvl="0" indent="-342900">
                        <a:lnSpc>
                          <a:spcPct val="115000"/>
                        </a:lnSpc>
                        <a:spcBef>
                          <a:spcPts val="0"/>
                        </a:spcBef>
                        <a:spcAft>
                          <a:spcPts val="0"/>
                        </a:spcAft>
                        <a:buFont typeface="Symbol" panose="05050102010706020507" pitchFamily="18" charset="2"/>
                        <a:buChar char=""/>
                      </a:pPr>
                      <a:r>
                        <a:rPr lang="en-US" sz="2000"/>
                        <a:t>Non-Hispanic</a:t>
                      </a:r>
                      <a:endParaRPr lang="en-US" sz="2000" dirty="0"/>
                    </a:p>
                  </a:txBody>
                  <a:tcPr marL="68580" marR="68580" marT="0" marB="0"/>
                </a:tc>
                <a:tc>
                  <a:txBody>
                    <a:bodyPr/>
                    <a:lstStyle/>
                    <a:p>
                      <a:pPr marL="342900" marR="0" lvl="0" indent="-342900">
                        <a:lnSpc>
                          <a:spcPct val="114999"/>
                        </a:lnSpc>
                        <a:spcBef>
                          <a:spcPts val="0"/>
                        </a:spcBef>
                        <a:spcAft>
                          <a:spcPts val="0"/>
                        </a:spcAft>
                        <a:buClr>
                          <a:srgbClr val="444C55"/>
                        </a:buClr>
                        <a:buFont typeface="Symbol,Sans-Serif"/>
                        <a:buChar char=""/>
                      </a:pPr>
                      <a:r>
                        <a:rPr lang="en-US" sz="2000"/>
                        <a:t>Unknown Ethnicity</a:t>
                      </a:r>
                      <a:endParaRPr lang="en-US" sz="2000" dirty="0"/>
                    </a:p>
                    <a:p>
                      <a:pPr marL="342900" marR="0" lvl="0" indent="-342900">
                        <a:lnSpc>
                          <a:spcPct val="114999"/>
                        </a:lnSpc>
                        <a:spcBef>
                          <a:spcPts val="0"/>
                        </a:spcBef>
                        <a:spcAft>
                          <a:spcPts val="1000"/>
                        </a:spcAft>
                        <a:buClr>
                          <a:srgbClr val="444C55"/>
                        </a:buClr>
                        <a:buFont typeface="Symbol,Sans-Serif"/>
                        <a:buChar char=""/>
                      </a:pPr>
                      <a:r>
                        <a:rPr lang="en-US" sz="2000"/>
                        <a:t>Declined</a:t>
                      </a:r>
                      <a:endParaRPr lang="en-US" sz="2000" dirty="0"/>
                    </a:p>
                  </a:txBody>
                  <a:tcPr marL="68580" marR="68580" marT="0" marB="0"/>
                </a:tc>
                <a:extLst>
                  <a:ext uri="{0D108BD9-81ED-4DB2-BD59-A6C34878D82A}">
                    <a16:rowId xmlns:a16="http://schemas.microsoft.com/office/drawing/2014/main" val="2580608748"/>
                  </a:ext>
                </a:extLst>
              </a:tr>
              <a:tr h="1363382">
                <a:tc>
                  <a:txBody>
                    <a:bodyPr/>
                    <a:lstStyle/>
                    <a:p>
                      <a:pPr marL="0" marR="0">
                        <a:lnSpc>
                          <a:spcPct val="115000"/>
                        </a:lnSpc>
                        <a:spcBef>
                          <a:spcPts val="0"/>
                        </a:spcBef>
                        <a:spcAft>
                          <a:spcPts val="1000"/>
                        </a:spcAft>
                      </a:pPr>
                      <a:r>
                        <a:rPr lang="en-US" sz="2000" dirty="0"/>
                        <a:t>Infant Race (Select all that apply)</a:t>
                      </a: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2000" dirty="0"/>
                        <a:t>Asian</a:t>
                      </a:r>
                    </a:p>
                    <a:p>
                      <a:pPr marL="342900" marR="0" lvl="0" indent="-342900">
                        <a:lnSpc>
                          <a:spcPct val="115000"/>
                        </a:lnSpc>
                        <a:spcBef>
                          <a:spcPts val="0"/>
                        </a:spcBef>
                        <a:spcAft>
                          <a:spcPts val="0"/>
                        </a:spcAft>
                        <a:buFont typeface="Wingdings" panose="05000000000000000000" pitchFamily="2" charset="2"/>
                        <a:buChar char=""/>
                      </a:pPr>
                      <a:r>
                        <a:rPr lang="en-US" sz="2000" dirty="0"/>
                        <a:t>Black</a:t>
                      </a:r>
                    </a:p>
                    <a:p>
                      <a:pPr marL="342900" marR="0" lvl="0" indent="-342900">
                        <a:lnSpc>
                          <a:spcPct val="115000"/>
                        </a:lnSpc>
                        <a:spcBef>
                          <a:spcPts val="0"/>
                        </a:spcBef>
                        <a:spcAft>
                          <a:spcPts val="0"/>
                        </a:spcAft>
                        <a:buFont typeface="Wingdings" panose="05000000000000000000" pitchFamily="2" charset="2"/>
                        <a:buChar char=""/>
                      </a:pPr>
                      <a:r>
                        <a:rPr lang="en-US" sz="2000" dirty="0"/>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2000" dirty="0"/>
                        <a:t>Native Hawaiian or Pacific Islander</a:t>
                      </a:r>
                    </a:p>
                  </a:txBody>
                  <a:tcPr marL="68580" marR="68580" marT="0" marB="0"/>
                </a:tc>
                <a:tc>
                  <a:txBody>
                    <a:bodyPr/>
                    <a:lstStyle/>
                    <a:p>
                      <a:pPr marL="342900" marR="0" lvl="0" indent="-342900">
                        <a:lnSpc>
                          <a:spcPct val="114999"/>
                        </a:lnSpc>
                        <a:spcBef>
                          <a:spcPts val="0"/>
                        </a:spcBef>
                        <a:spcAft>
                          <a:spcPts val="0"/>
                        </a:spcAft>
                        <a:buClr>
                          <a:srgbClr val="444C55"/>
                        </a:buClr>
                        <a:buFont typeface="Wingdings,Sans-Serif"/>
                        <a:buChar char=""/>
                      </a:pPr>
                      <a:r>
                        <a:rPr lang="en-US" sz="2000"/>
                        <a:t>White</a:t>
                      </a:r>
                      <a:endParaRPr lang="en-US" sz="2000" dirty="0"/>
                    </a:p>
                    <a:p>
                      <a:pPr marL="342900" marR="0" lvl="0" indent="-342900">
                        <a:lnSpc>
                          <a:spcPct val="114999"/>
                        </a:lnSpc>
                        <a:spcBef>
                          <a:spcPts val="0"/>
                        </a:spcBef>
                        <a:spcAft>
                          <a:spcPts val="0"/>
                        </a:spcAft>
                        <a:buClr>
                          <a:srgbClr val="444C55"/>
                        </a:buClr>
                        <a:buFont typeface="Wingdings,Sans-Serif"/>
                        <a:buChar char=""/>
                      </a:pPr>
                      <a:r>
                        <a:rPr lang="en-US" sz="2000"/>
                        <a:t>Other Race: ____</a:t>
                      </a:r>
                      <a:endParaRPr lang="en-US" sz="2000" dirty="0"/>
                    </a:p>
                    <a:p>
                      <a:pPr marL="342900" marR="0" lvl="0" indent="-342900">
                        <a:lnSpc>
                          <a:spcPct val="114999"/>
                        </a:lnSpc>
                        <a:spcBef>
                          <a:spcPts val="0"/>
                        </a:spcBef>
                        <a:spcAft>
                          <a:spcPts val="0"/>
                        </a:spcAft>
                        <a:buClr>
                          <a:srgbClr val="444C55"/>
                        </a:buClr>
                        <a:buFont typeface="Wingdings,Sans-Serif"/>
                        <a:buChar char=""/>
                      </a:pPr>
                      <a:r>
                        <a:rPr lang="en-US" sz="2000"/>
                        <a:t>Unknown Race</a:t>
                      </a:r>
                      <a:endParaRPr lang="en-US" sz="2000" dirty="0"/>
                    </a:p>
                    <a:p>
                      <a:pPr marL="342900" marR="0" lvl="0" indent="-342900">
                        <a:lnSpc>
                          <a:spcPct val="114999"/>
                        </a:lnSpc>
                        <a:spcBef>
                          <a:spcPts val="0"/>
                        </a:spcBef>
                        <a:spcAft>
                          <a:spcPts val="1000"/>
                        </a:spcAft>
                        <a:buClr>
                          <a:srgbClr val="444C55"/>
                        </a:buClr>
                        <a:buFont typeface="Wingdings,Sans-Serif"/>
                        <a:buChar char=""/>
                      </a:pPr>
                      <a:r>
                        <a:rPr lang="en-US" sz="2000"/>
                        <a:t>Declined</a:t>
                      </a:r>
                      <a:endParaRPr lang="en-US" sz="2000" dirty="0"/>
                    </a:p>
                  </a:txBody>
                  <a:tcPr marL="68580" marR="68580" marT="0" marB="0"/>
                </a:tc>
                <a:extLst>
                  <a:ext uri="{0D108BD9-81ED-4DB2-BD59-A6C34878D82A}">
                    <a16:rowId xmlns:a16="http://schemas.microsoft.com/office/drawing/2014/main" val="2165230600"/>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2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7085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DBF26-5AFD-951B-AAEC-EDDABFBF9E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886371-EE36-A003-A359-73525F0B1B03}"/>
              </a:ext>
            </a:extLst>
          </p:cNvPr>
          <p:cNvSpPr>
            <a:spLocks noGrp="1"/>
          </p:cNvSpPr>
          <p:nvPr>
            <p:ph type="title"/>
          </p:nvPr>
        </p:nvSpPr>
        <p:spPr>
          <a:noFill/>
          <a:ln>
            <a:noFill/>
          </a:ln>
        </p:spPr>
        <p:txBody>
          <a:bodyPr/>
          <a:lstStyle/>
          <a:p>
            <a:r>
              <a:rPr lang="en-US" dirty="0"/>
              <a:t>Patient Level Data Form</a:t>
            </a:r>
          </a:p>
        </p:txBody>
      </p:sp>
      <p:sp>
        <p:nvSpPr>
          <p:cNvPr id="4" name="Slide Number Placeholder 3">
            <a:extLst>
              <a:ext uri="{FF2B5EF4-FFF2-40B4-BE49-F238E27FC236}">
                <a16:creationId xmlns:a16="http://schemas.microsoft.com/office/drawing/2014/main" id="{65BF7A85-7AE6-10B1-3490-82E04CFFF822}"/>
              </a:ext>
            </a:extLst>
          </p:cNvPr>
          <p:cNvSpPr>
            <a:spLocks noGrp="1"/>
          </p:cNvSpPr>
          <p:nvPr>
            <p:ph type="sldNum" sz="quarter" idx="10"/>
          </p:nvPr>
        </p:nvSpPr>
        <p:spPr/>
        <p:txBody>
          <a:bodyPr/>
          <a:lstStyle/>
          <a:p>
            <a:fld id="{97033E4B-E3EB-3D46-B2D8-3159663620FA}" type="slidenum">
              <a:rPr lang="en-US" smtClean="0"/>
              <a:pPr/>
              <a:t>28</a:t>
            </a:fld>
            <a:endParaRPr lang="en-US"/>
          </a:p>
        </p:txBody>
      </p:sp>
      <p:sp>
        <p:nvSpPr>
          <p:cNvPr id="5" name="Footer Placeholder 4">
            <a:extLst>
              <a:ext uri="{FF2B5EF4-FFF2-40B4-BE49-F238E27FC236}">
                <a16:creationId xmlns:a16="http://schemas.microsoft.com/office/drawing/2014/main" id="{1B7AF936-2340-E348-11A3-3D2B199E9118}"/>
              </a:ext>
            </a:extLst>
          </p:cNvPr>
          <p:cNvSpPr>
            <a:spLocks noGrp="1"/>
          </p:cNvSpPr>
          <p:nvPr>
            <p:ph type="ftr" sz="quarter" idx="11"/>
          </p:nvPr>
        </p:nvSpPr>
        <p:spPr/>
        <p:txBody>
          <a:bodyPr/>
          <a:lstStyle/>
          <a:p>
            <a:pPr algn="l"/>
            <a:r>
              <a:rPr lang="en-US"/>
              <a:t>Illinois Perinatal Quality Collaborative</a:t>
            </a:r>
          </a:p>
        </p:txBody>
      </p:sp>
      <p:graphicFrame>
        <p:nvGraphicFramePr>
          <p:cNvPr id="7" name="Table 6">
            <a:extLst>
              <a:ext uri="{FF2B5EF4-FFF2-40B4-BE49-F238E27FC236}">
                <a16:creationId xmlns:a16="http://schemas.microsoft.com/office/drawing/2014/main" id="{E3697C67-F02A-B3F7-7D3D-7E718C19988D}"/>
              </a:ext>
            </a:extLst>
          </p:cNvPr>
          <p:cNvGraphicFramePr>
            <a:graphicFrameLocks noGrp="1"/>
          </p:cNvGraphicFramePr>
          <p:nvPr>
            <p:extLst>
              <p:ext uri="{D42A27DB-BD31-4B8C-83A1-F6EECF244321}">
                <p14:modId xmlns:p14="http://schemas.microsoft.com/office/powerpoint/2010/main" val="3800150324"/>
              </p:ext>
            </p:extLst>
          </p:nvPr>
        </p:nvGraphicFramePr>
        <p:xfrm>
          <a:off x="546340" y="1849270"/>
          <a:ext cx="11116563" cy="4247744"/>
        </p:xfrm>
        <a:graphic>
          <a:graphicData uri="http://schemas.openxmlformats.org/drawingml/2006/table">
            <a:tbl>
              <a:tblPr firstRow="1" firstCol="1" bandRow="1">
                <a:tableStyleId>{21E4AEA4-8DFA-4A89-87EB-49C32662AFE0}</a:tableStyleId>
              </a:tblPr>
              <a:tblGrid>
                <a:gridCol w="4280976">
                  <a:extLst>
                    <a:ext uri="{9D8B030D-6E8A-4147-A177-3AD203B41FA5}">
                      <a16:colId xmlns:a16="http://schemas.microsoft.com/office/drawing/2014/main" val="3667215020"/>
                    </a:ext>
                  </a:extLst>
                </a:gridCol>
                <a:gridCol w="4426323">
                  <a:extLst>
                    <a:ext uri="{9D8B030D-6E8A-4147-A177-3AD203B41FA5}">
                      <a16:colId xmlns:a16="http://schemas.microsoft.com/office/drawing/2014/main" val="1004739901"/>
                    </a:ext>
                  </a:extLst>
                </a:gridCol>
                <a:gridCol w="2409264">
                  <a:extLst>
                    <a:ext uri="{9D8B030D-6E8A-4147-A177-3AD203B41FA5}">
                      <a16:colId xmlns:a16="http://schemas.microsoft.com/office/drawing/2014/main" val="107976514"/>
                    </a:ext>
                  </a:extLst>
                </a:gridCol>
              </a:tblGrid>
              <a:tr h="350549">
                <a:tc gridSpan="3">
                  <a:txBody>
                    <a:bodyPr/>
                    <a:lstStyle/>
                    <a:p>
                      <a:pPr marL="0" marR="0">
                        <a:lnSpc>
                          <a:spcPct val="115000"/>
                        </a:lnSpc>
                        <a:spcBef>
                          <a:spcPts val="0"/>
                        </a:spcBef>
                        <a:spcAft>
                          <a:spcPts val="1000"/>
                        </a:spcAft>
                      </a:pPr>
                      <a:r>
                        <a:rPr lang="en-US" sz="2400" dirty="0">
                          <a:effectLst/>
                        </a:rPr>
                        <a:t>Birthing Person Demographics</a:t>
                      </a:r>
                    </a:p>
                  </a:txBody>
                  <a:tcPr marL="68580" marR="68580" marT="0" marB="0"/>
                </a:tc>
                <a:tc hMerge="1">
                  <a:txBody>
                    <a:bodyPr/>
                    <a:lstStyle/>
                    <a:p>
                      <a:endParaRPr lang="en-US"/>
                    </a:p>
                  </a:txBody>
                  <a:tcPr/>
                </a:tc>
                <a:tc hMerge="1">
                  <a:txBody>
                    <a:bodyPr/>
                    <a:lstStyle/>
                    <a:p>
                      <a:pPr marL="0" marR="0">
                        <a:lnSpc>
                          <a:spcPct val="115000"/>
                        </a:lnSpc>
                        <a:spcBef>
                          <a:spcPts val="0"/>
                        </a:spcBef>
                        <a:spcAft>
                          <a:spcPts val="1000"/>
                        </a:spcAft>
                      </a:pPr>
                      <a:endParaRPr lang="en-US" sz="1400" dirty="0">
                        <a:effectLst/>
                      </a:endParaRPr>
                    </a:p>
                  </a:txBody>
                  <a:tcPr marL="68580" marR="68580" marT="0" marB="0"/>
                </a:tc>
                <a:extLst>
                  <a:ext uri="{0D108BD9-81ED-4DB2-BD59-A6C34878D82A}">
                    <a16:rowId xmlns:a16="http://schemas.microsoft.com/office/drawing/2014/main" val="759819273"/>
                  </a:ext>
                </a:extLst>
              </a:tr>
              <a:tr h="1084937">
                <a:tc>
                  <a:txBody>
                    <a:bodyPr/>
                    <a:lstStyle/>
                    <a:p>
                      <a:pPr marL="0" marR="0">
                        <a:lnSpc>
                          <a:spcPct val="115000"/>
                        </a:lnSpc>
                        <a:spcBef>
                          <a:spcPts val="0"/>
                        </a:spcBef>
                        <a:spcAft>
                          <a:spcPts val="0"/>
                        </a:spcAft>
                      </a:pPr>
                      <a:r>
                        <a:rPr lang="en-US" sz="2000" dirty="0">
                          <a:effectLst/>
                        </a:rPr>
                        <a:t>Health Insurance Type (select one)</a:t>
                      </a:r>
                      <a:endParaRPr lang="en-US" sz="2000">
                        <a:effectLst/>
                        <a:latin typeface="Calibri"/>
                        <a:ea typeface="Times New Roman" panose="02020603050405020304" pitchFamily="18" charset="0"/>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Private Insurance</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Public Insurance (Medicaid)</a:t>
                      </a:r>
                    </a:p>
                    <a:p>
                      <a:pPr marL="342900" marR="0" lvl="0" indent="-342900">
                        <a:lnSpc>
                          <a:spcPct val="115000"/>
                        </a:lnSpc>
                        <a:spcBef>
                          <a:spcPts val="0"/>
                        </a:spcBef>
                        <a:spcAft>
                          <a:spcPts val="0"/>
                        </a:spcAft>
                        <a:buFont typeface="Symbol" panose="05050102010706020507" pitchFamily="18" charset="2"/>
                        <a:buChar char=""/>
                      </a:pPr>
                      <a:r>
                        <a:rPr lang="en-US" sz="2000">
                          <a:effectLst/>
                        </a:rPr>
                        <a:t>Self-Pay</a:t>
                      </a:r>
                      <a:endParaRPr lang="en-US" sz="2000" dirty="0">
                        <a:effectLst/>
                      </a:endParaRPr>
                    </a:p>
                  </a:txBody>
                  <a:tcPr marL="68580" marR="68580" marT="0" marB="0"/>
                </a:tc>
                <a:tc>
                  <a:txBody>
                    <a:bodyPr/>
                    <a:lstStyle/>
                    <a:p>
                      <a:pPr marL="342900" marR="0" lvl="0" indent="-342900">
                        <a:lnSpc>
                          <a:spcPct val="114999"/>
                        </a:lnSpc>
                        <a:spcBef>
                          <a:spcPts val="0"/>
                        </a:spcBef>
                        <a:spcAft>
                          <a:spcPts val="0"/>
                        </a:spcAft>
                        <a:buClr>
                          <a:srgbClr val="444C55"/>
                        </a:buClr>
                        <a:buFont typeface="Symbol,Sans-Serif"/>
                        <a:buChar char=""/>
                      </a:pPr>
                      <a:r>
                        <a:rPr lang="en-US" sz="2000" b="0" i="0" u="none" strike="noStrike" noProof="0">
                          <a:solidFill>
                            <a:srgbClr val="444C55"/>
                          </a:solidFill>
                          <a:effectLst/>
                          <a:latin typeface="Calibri"/>
                        </a:rPr>
                        <a:t>Uninsured</a:t>
                      </a:r>
                    </a:p>
                    <a:p>
                      <a:pPr marL="342900" marR="0" lvl="0" indent="-342900">
                        <a:lnSpc>
                          <a:spcPct val="114999"/>
                        </a:lnSpc>
                        <a:spcBef>
                          <a:spcPts val="0"/>
                        </a:spcBef>
                        <a:spcAft>
                          <a:spcPts val="0"/>
                        </a:spcAft>
                        <a:buClr>
                          <a:srgbClr val="444C55"/>
                        </a:buClr>
                        <a:buFont typeface="Symbol,Sans-Serif"/>
                        <a:buChar char=""/>
                      </a:pPr>
                      <a:r>
                        <a:rPr lang="en-US" sz="2000" b="0" i="0" u="none" strike="noStrike" noProof="0">
                          <a:solidFill>
                            <a:srgbClr val="444C55"/>
                          </a:solidFill>
                          <a:effectLst/>
                          <a:latin typeface="Calibri"/>
                        </a:rPr>
                        <a:t>Unknown</a:t>
                      </a:r>
                    </a:p>
                  </a:txBody>
                  <a:tcPr marL="68580" marR="68580" marT="0" marB="0"/>
                </a:tc>
                <a:extLst>
                  <a:ext uri="{0D108BD9-81ED-4DB2-BD59-A6C34878D82A}">
                    <a16:rowId xmlns:a16="http://schemas.microsoft.com/office/drawing/2014/main" val="3696805757"/>
                  </a:ext>
                </a:extLst>
              </a:tr>
              <a:tr h="867949">
                <a:tc>
                  <a:txBody>
                    <a:bodyPr/>
                    <a:lstStyle/>
                    <a:p>
                      <a:pPr marL="0" marR="0">
                        <a:lnSpc>
                          <a:spcPct val="115000"/>
                        </a:lnSpc>
                        <a:spcBef>
                          <a:spcPts val="0"/>
                        </a:spcBef>
                        <a:spcAft>
                          <a:spcPts val="1000"/>
                        </a:spcAft>
                      </a:pPr>
                      <a:r>
                        <a:rPr lang="en-US" sz="2000">
                          <a:effectLst/>
                        </a:rPr>
                        <a:t>Birthing Person Ethnicity (select one)</a:t>
                      </a:r>
                      <a:endParaRPr lang="en-US" sz="2000" dirty="0">
                        <a:effectLst/>
                      </a:endParaRPr>
                    </a:p>
                    <a:p>
                      <a:pPr marL="0" marR="0">
                        <a:lnSpc>
                          <a:spcPct val="115000"/>
                        </a:lnSpc>
                        <a:spcBef>
                          <a:spcPts val="0"/>
                        </a:spcBef>
                        <a:spcAft>
                          <a:spcPts val="1000"/>
                        </a:spcAft>
                      </a:pPr>
                      <a:endParaRPr lang="en-US" sz="2000">
                        <a:effectLst/>
                        <a:latin typeface="Calibri"/>
                        <a:ea typeface="Times New Roman" panose="02020603050405020304" pitchFamily="18" charset="0"/>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2000">
                          <a:effectLst/>
                        </a:rPr>
                        <a:t>Non-Hispanic</a:t>
                      </a:r>
                      <a:endParaRPr lang="en-US" sz="2000" dirty="0">
                        <a:effectLst/>
                      </a:endParaRPr>
                    </a:p>
                  </a:txBody>
                  <a:tcPr marL="68580" marR="68580" marT="0" marB="0"/>
                </a:tc>
                <a:tc>
                  <a:txBody>
                    <a:bodyPr/>
                    <a:lstStyle/>
                    <a:p>
                      <a:pPr marL="342900" marR="0" lvl="0" indent="-342900">
                        <a:lnSpc>
                          <a:spcPct val="114999"/>
                        </a:lnSpc>
                        <a:spcBef>
                          <a:spcPts val="0"/>
                        </a:spcBef>
                        <a:spcAft>
                          <a:spcPts val="0"/>
                        </a:spcAft>
                        <a:buClr>
                          <a:srgbClr val="444C55"/>
                        </a:buClr>
                        <a:buFont typeface="Symbol,Sans-Serif"/>
                        <a:buChar char=""/>
                      </a:pPr>
                      <a:r>
                        <a:rPr lang="en-US" sz="2000" b="0" i="0" u="none" strike="noStrike" noProof="0">
                          <a:solidFill>
                            <a:srgbClr val="444C55"/>
                          </a:solidFill>
                          <a:effectLst/>
                          <a:latin typeface="Calibri"/>
                        </a:rPr>
                        <a:t>Unknown Ethnicity</a:t>
                      </a:r>
                    </a:p>
                    <a:p>
                      <a:pPr marL="342900" marR="0" lvl="0" indent="-342900">
                        <a:lnSpc>
                          <a:spcPct val="114999"/>
                        </a:lnSpc>
                        <a:spcBef>
                          <a:spcPts val="0"/>
                        </a:spcBef>
                        <a:spcAft>
                          <a:spcPts val="1000"/>
                        </a:spcAft>
                        <a:buClr>
                          <a:srgbClr val="444C55"/>
                        </a:buClr>
                        <a:buFont typeface="Symbol,Sans-Serif"/>
                        <a:buChar char=""/>
                      </a:pPr>
                      <a:r>
                        <a:rPr lang="en-US" sz="2000" b="0" i="0" u="none" strike="noStrike" noProof="0">
                          <a:solidFill>
                            <a:srgbClr val="444C55"/>
                          </a:solidFill>
                          <a:effectLst/>
                          <a:latin typeface="Calibri"/>
                        </a:rPr>
                        <a:t>Declined</a:t>
                      </a:r>
                    </a:p>
                  </a:txBody>
                  <a:tcPr marL="68580" marR="68580" marT="0" marB="0"/>
                </a:tc>
                <a:extLst>
                  <a:ext uri="{0D108BD9-81ED-4DB2-BD59-A6C34878D82A}">
                    <a16:rowId xmlns:a16="http://schemas.microsoft.com/office/drawing/2014/main" val="3749065719"/>
                  </a:ext>
                </a:extLst>
              </a:tr>
              <a:tr h="1735898">
                <a:tc>
                  <a:txBody>
                    <a:bodyPr/>
                    <a:lstStyle/>
                    <a:p>
                      <a:pPr marL="0" marR="0">
                        <a:lnSpc>
                          <a:spcPct val="115000"/>
                        </a:lnSpc>
                        <a:spcBef>
                          <a:spcPts val="0"/>
                        </a:spcBef>
                        <a:spcAft>
                          <a:spcPts val="0"/>
                        </a:spcAft>
                      </a:pPr>
                      <a:r>
                        <a:rPr lang="en-US" sz="2000">
                          <a:effectLst/>
                        </a:rPr>
                        <a:t>Birthing Person Race (select all that apply)</a:t>
                      </a:r>
                      <a:endParaRPr lang="en-US" sz="2000" dirty="0">
                        <a:effectLst/>
                      </a:endParaRPr>
                    </a:p>
                    <a:p>
                      <a:pPr marL="0" marR="0">
                        <a:lnSpc>
                          <a:spcPct val="115000"/>
                        </a:lnSpc>
                        <a:spcBef>
                          <a:spcPts val="0"/>
                        </a:spcBef>
                        <a:spcAft>
                          <a:spcPts val="0"/>
                        </a:spcAft>
                      </a:pPr>
                      <a:endParaRPr lang="en-US" sz="2000" dirty="0">
                        <a:effectLst/>
                      </a:endParaRPr>
                    </a:p>
                    <a:p>
                      <a:pPr marL="0" marR="0">
                        <a:lnSpc>
                          <a:spcPct val="115000"/>
                        </a:lnSpc>
                        <a:spcBef>
                          <a:spcPts val="0"/>
                        </a:spcBef>
                        <a:spcAft>
                          <a:spcPts val="0"/>
                        </a:spcAft>
                      </a:pPr>
                      <a:endParaRPr lang="en-US" sz="2000" dirty="0">
                        <a:effectLst/>
                      </a:endParaRPr>
                    </a:p>
                    <a:p>
                      <a:pPr marL="0" marR="0">
                        <a:lnSpc>
                          <a:spcPct val="115000"/>
                        </a:lnSpc>
                        <a:spcBef>
                          <a:spcPts val="0"/>
                        </a:spcBef>
                        <a:spcAft>
                          <a:spcPts val="0"/>
                        </a:spcAft>
                      </a:pPr>
                      <a:endParaRPr lang="en-US" sz="2000">
                        <a:effectLst/>
                        <a:latin typeface="Calibri"/>
                        <a:ea typeface="Times New Roman" panose="02020603050405020304" pitchFamily="18" charset="0"/>
                        <a:cs typeface="Times New Roman"/>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2000" dirty="0">
                          <a:effectLst/>
                        </a:rPr>
                        <a:t>Asian</a:t>
                      </a:r>
                    </a:p>
                    <a:p>
                      <a:pPr marL="342900" marR="0" lvl="0" indent="-342900">
                        <a:lnSpc>
                          <a:spcPct val="115000"/>
                        </a:lnSpc>
                        <a:spcBef>
                          <a:spcPts val="0"/>
                        </a:spcBef>
                        <a:spcAft>
                          <a:spcPts val="0"/>
                        </a:spcAft>
                        <a:buFont typeface="Wingdings" panose="05000000000000000000" pitchFamily="2" charset="2"/>
                        <a:buChar char=""/>
                      </a:pPr>
                      <a:r>
                        <a:rPr lang="en-US" sz="2000" dirty="0">
                          <a:effectLst/>
                        </a:rPr>
                        <a:t>Black</a:t>
                      </a:r>
                    </a:p>
                    <a:p>
                      <a:pPr marL="342900" marR="0" lvl="0" indent="-342900">
                        <a:lnSpc>
                          <a:spcPct val="115000"/>
                        </a:lnSpc>
                        <a:spcBef>
                          <a:spcPts val="0"/>
                        </a:spcBef>
                        <a:spcAft>
                          <a:spcPts val="0"/>
                        </a:spcAft>
                        <a:buFont typeface="Wingdings" panose="05000000000000000000" pitchFamily="2" charset="2"/>
                        <a:buChar char=""/>
                      </a:pPr>
                      <a:r>
                        <a:rPr lang="en-US" sz="2000" dirty="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2000">
                          <a:effectLst/>
                        </a:rPr>
                        <a:t>Native Hawaiian or Pacific Islander</a:t>
                      </a:r>
                      <a:endParaRPr lang="en-US" sz="2000" dirty="0">
                        <a:effectLst/>
                      </a:endParaRPr>
                    </a:p>
                  </a:txBody>
                  <a:tcPr marL="68580" marR="68580" marT="0" marB="0"/>
                </a:tc>
                <a:tc>
                  <a:txBody>
                    <a:bodyPr/>
                    <a:lstStyle/>
                    <a:p>
                      <a:pPr marL="342900" marR="0" lvl="0" indent="-342900">
                        <a:lnSpc>
                          <a:spcPct val="114999"/>
                        </a:lnSpc>
                        <a:spcBef>
                          <a:spcPts val="0"/>
                        </a:spcBef>
                        <a:spcAft>
                          <a:spcPts val="0"/>
                        </a:spcAft>
                        <a:buClr>
                          <a:srgbClr val="444C55"/>
                        </a:buClr>
                        <a:buFont typeface="Wingdings,Sans-Serif"/>
                        <a:buChar char=""/>
                      </a:pPr>
                      <a:r>
                        <a:rPr lang="en-US" sz="2000" b="0" i="0" u="none" strike="noStrike" noProof="0">
                          <a:solidFill>
                            <a:srgbClr val="444C55"/>
                          </a:solidFill>
                          <a:effectLst/>
                          <a:latin typeface="Calibri"/>
                        </a:rPr>
                        <a:t>White</a:t>
                      </a:r>
                    </a:p>
                    <a:p>
                      <a:pPr marL="342900" marR="0" lvl="0" indent="-342900">
                        <a:lnSpc>
                          <a:spcPct val="114999"/>
                        </a:lnSpc>
                        <a:spcBef>
                          <a:spcPts val="0"/>
                        </a:spcBef>
                        <a:spcAft>
                          <a:spcPts val="0"/>
                        </a:spcAft>
                        <a:buClr>
                          <a:srgbClr val="444C55"/>
                        </a:buClr>
                        <a:buFont typeface="Wingdings,Sans-Serif"/>
                        <a:buChar char=""/>
                      </a:pPr>
                      <a:r>
                        <a:rPr lang="en-US" sz="2000" b="0" i="0" u="none" strike="noStrike" noProof="0">
                          <a:solidFill>
                            <a:srgbClr val="444C55"/>
                          </a:solidFill>
                          <a:effectLst/>
                          <a:latin typeface="Calibri"/>
                        </a:rPr>
                        <a:t>Other Race: ____</a:t>
                      </a:r>
                    </a:p>
                    <a:p>
                      <a:pPr marL="342900" marR="0" lvl="0" indent="-342900">
                        <a:lnSpc>
                          <a:spcPct val="114999"/>
                        </a:lnSpc>
                        <a:spcBef>
                          <a:spcPts val="0"/>
                        </a:spcBef>
                        <a:spcAft>
                          <a:spcPts val="0"/>
                        </a:spcAft>
                        <a:buClr>
                          <a:srgbClr val="444C55"/>
                        </a:buClr>
                        <a:buFont typeface="Wingdings,Sans-Serif"/>
                        <a:buChar char=""/>
                      </a:pPr>
                      <a:r>
                        <a:rPr lang="en-US" sz="2000" b="0" i="0" u="none" strike="noStrike" noProof="0">
                          <a:solidFill>
                            <a:srgbClr val="444C55"/>
                          </a:solidFill>
                          <a:effectLst/>
                          <a:latin typeface="Calibri"/>
                        </a:rPr>
                        <a:t>Unknown Race</a:t>
                      </a:r>
                    </a:p>
                    <a:p>
                      <a:pPr marL="342900" marR="0" lvl="0" indent="-342900">
                        <a:lnSpc>
                          <a:spcPct val="114999"/>
                        </a:lnSpc>
                        <a:spcBef>
                          <a:spcPts val="0"/>
                        </a:spcBef>
                        <a:spcAft>
                          <a:spcPts val="1000"/>
                        </a:spcAft>
                        <a:buClr>
                          <a:srgbClr val="444C55"/>
                        </a:buClr>
                        <a:buFont typeface="Wingdings,Sans-Serif"/>
                        <a:buChar char=""/>
                      </a:pPr>
                      <a:r>
                        <a:rPr lang="en-US" sz="2000" b="0" i="0" u="none" strike="noStrike" noProof="0">
                          <a:solidFill>
                            <a:srgbClr val="444C55"/>
                          </a:solidFill>
                          <a:effectLst/>
                          <a:latin typeface="Calibri"/>
                        </a:rPr>
                        <a:t>Declined</a:t>
                      </a:r>
                    </a:p>
                  </a:txBody>
                  <a:tcPr marL="68580" marR="68580" marT="0" marB="0"/>
                </a:tc>
                <a:extLst>
                  <a:ext uri="{0D108BD9-81ED-4DB2-BD59-A6C34878D82A}">
                    <a16:rowId xmlns:a16="http://schemas.microsoft.com/office/drawing/2014/main" val="655273382"/>
                  </a:ext>
                </a:extLst>
              </a:tr>
            </a:tbl>
          </a:graphicData>
        </a:graphic>
      </p:graphicFrame>
    </p:spTree>
    <p:extLst>
      <p:ext uri="{BB962C8B-B14F-4D97-AF65-F5344CB8AC3E}">
        <p14:creationId xmlns:p14="http://schemas.microsoft.com/office/powerpoint/2010/main" val="17607528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Patient Level Data Form</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916404730"/>
              </p:ext>
            </p:extLst>
          </p:nvPr>
        </p:nvGraphicFramePr>
        <p:xfrm>
          <a:off x="551745" y="1687279"/>
          <a:ext cx="10838008" cy="4601464"/>
        </p:xfrm>
        <a:graphic>
          <a:graphicData uri="http://schemas.openxmlformats.org/drawingml/2006/table">
            <a:tbl>
              <a:tblPr firstRow="1" firstCol="1" bandRow="1">
                <a:tableStyleId>{21E4AEA4-8DFA-4A89-87EB-49C32662AFE0}</a:tableStyleId>
              </a:tblPr>
              <a:tblGrid>
                <a:gridCol w="6225760">
                  <a:extLst>
                    <a:ext uri="{9D8B030D-6E8A-4147-A177-3AD203B41FA5}">
                      <a16:colId xmlns:a16="http://schemas.microsoft.com/office/drawing/2014/main" val="1123736616"/>
                    </a:ext>
                  </a:extLst>
                </a:gridCol>
                <a:gridCol w="4612248">
                  <a:extLst>
                    <a:ext uri="{9D8B030D-6E8A-4147-A177-3AD203B41FA5}">
                      <a16:colId xmlns:a16="http://schemas.microsoft.com/office/drawing/2014/main" val="920528928"/>
                    </a:ext>
                  </a:extLst>
                </a:gridCol>
              </a:tblGrid>
              <a:tr h="557839">
                <a:tc>
                  <a:txBody>
                    <a:bodyPr/>
                    <a:lstStyle/>
                    <a:p>
                      <a:pPr marL="0" marR="0">
                        <a:lnSpc>
                          <a:spcPct val="107000"/>
                        </a:lnSpc>
                        <a:spcBef>
                          <a:spcPts val="0"/>
                        </a:spcBef>
                        <a:spcAft>
                          <a:spcPts val="800"/>
                        </a:spcAft>
                      </a:pPr>
                      <a:r>
                        <a:rPr lang="en-US" sz="2000" dirty="0">
                          <a:effectLst/>
                        </a:rPr>
                        <a:t>Parent(s)-reported infant race &amp; ethnicity documented in the infant medical record</a:t>
                      </a:r>
                      <a:endParaRPr lang="en-US" sz="200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b="0" dirty="0">
                          <a:solidFill>
                            <a:schemeClr val="tx1"/>
                          </a:solidFill>
                          <a:effectLst/>
                        </a:rPr>
                        <a:t>Yes</a:t>
                      </a:r>
                    </a:p>
                    <a:p>
                      <a:pPr marL="342900" marR="0" lvl="0" indent="-342900">
                        <a:lnSpc>
                          <a:spcPct val="115000"/>
                        </a:lnSpc>
                        <a:spcBef>
                          <a:spcPts val="0"/>
                        </a:spcBef>
                        <a:spcAft>
                          <a:spcPts val="0"/>
                        </a:spcAft>
                        <a:buFont typeface="Symbol" panose="05050102010706020507" pitchFamily="18" charset="2"/>
                        <a:buChar char=""/>
                      </a:pPr>
                      <a:r>
                        <a:rPr lang="en-US" sz="2000" b="0" dirty="0">
                          <a:solidFill>
                            <a:schemeClr val="tx1"/>
                          </a:solidFill>
                          <a:effectLst/>
                        </a:rPr>
                        <a:t>No</a:t>
                      </a:r>
                    </a:p>
                  </a:txBody>
                  <a:tcPr marL="39535" marR="39535" marT="0" marB="0">
                    <a:solidFill>
                      <a:srgbClr val="FDEAEE"/>
                    </a:solidFill>
                  </a:tcPr>
                </a:tc>
                <a:extLst>
                  <a:ext uri="{0D108BD9-81ED-4DB2-BD59-A6C34878D82A}">
                    <a16:rowId xmlns:a16="http://schemas.microsoft.com/office/drawing/2014/main" val="3231595980"/>
                  </a:ext>
                </a:extLst>
              </a:tr>
              <a:tr h="1126803">
                <a:tc>
                  <a:txBody>
                    <a:bodyPr/>
                    <a:lstStyle/>
                    <a:p>
                      <a:pPr marL="0" marR="0">
                        <a:lnSpc>
                          <a:spcPct val="107000"/>
                        </a:lnSpc>
                        <a:spcBef>
                          <a:spcPts val="0"/>
                        </a:spcBef>
                        <a:spcAft>
                          <a:spcPts val="1000"/>
                        </a:spcAft>
                      </a:pPr>
                      <a:r>
                        <a:rPr lang="en-US" sz="2000" dirty="0">
                          <a:effectLst/>
                        </a:rPr>
                        <a:t>What was the birthing person's preferred language to receive medical updates as documented in the medical record?</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English</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Spanish</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Polish</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Arabic</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Urdu</a:t>
                      </a:r>
                    </a:p>
                    <a:p>
                      <a:pPr marL="342900" marR="0" lvl="0" indent="-342900">
                        <a:lnSpc>
                          <a:spcPct val="115000"/>
                        </a:lnSpc>
                        <a:spcBef>
                          <a:spcPts val="0"/>
                        </a:spcBef>
                        <a:spcAft>
                          <a:spcPts val="1000"/>
                        </a:spcAft>
                        <a:buFont typeface="Symbol" panose="05050102010706020507" pitchFamily="18" charset="2"/>
                        <a:buChar char=""/>
                      </a:pPr>
                      <a:r>
                        <a:rPr lang="en-US" sz="2000" dirty="0">
                          <a:effectLst/>
                        </a:rPr>
                        <a:t>Other: _______</a:t>
                      </a:r>
                    </a:p>
                    <a:p>
                      <a:pPr marL="342900" marR="0" lvl="0" indent="-342900">
                        <a:lnSpc>
                          <a:spcPct val="114999"/>
                        </a:lnSpc>
                        <a:spcBef>
                          <a:spcPts val="0"/>
                        </a:spcBef>
                        <a:spcAft>
                          <a:spcPts val="1000"/>
                        </a:spcAft>
                        <a:buFont typeface="Symbol" panose="05050102010706020507" pitchFamily="18" charset="2"/>
                        <a:buChar char=""/>
                      </a:pPr>
                      <a:r>
                        <a:rPr lang="en-US" sz="2000" dirty="0">
                          <a:effectLst/>
                        </a:rPr>
                        <a:t>Not documented</a:t>
                      </a:r>
                    </a:p>
                  </a:txBody>
                  <a:tcPr marL="39535" marR="39535" marT="0" marB="0"/>
                </a:tc>
                <a:extLst>
                  <a:ext uri="{0D108BD9-81ED-4DB2-BD59-A6C34878D82A}">
                    <a16:rowId xmlns:a16="http://schemas.microsoft.com/office/drawing/2014/main" val="142995013"/>
                  </a:ext>
                </a:extLst>
              </a:tr>
              <a:tr h="368184">
                <a:tc>
                  <a:txBody>
                    <a:bodyPr/>
                    <a:lstStyle/>
                    <a:p>
                      <a:pPr marL="0" marR="0">
                        <a:lnSpc>
                          <a:spcPct val="107000"/>
                        </a:lnSpc>
                        <a:spcBef>
                          <a:spcPts val="0"/>
                        </a:spcBef>
                        <a:spcAft>
                          <a:spcPts val="1000"/>
                        </a:spcAft>
                      </a:pPr>
                      <a:r>
                        <a:rPr lang="en-US" sz="2000" dirty="0">
                          <a:effectLst/>
                        </a:rPr>
                        <a:t>Documentation of a qualified interpreter used to provide safe sleep education to the parent or caregiver</a:t>
                      </a:r>
                      <a:endParaRPr lang="en-US" sz="200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Yes</a:t>
                      </a:r>
                    </a:p>
                    <a:p>
                      <a:pPr marL="342900" marR="0" lvl="0" indent="-342900">
                        <a:lnSpc>
                          <a:spcPct val="115000"/>
                        </a:lnSpc>
                        <a:spcBef>
                          <a:spcPts val="0"/>
                        </a:spcBef>
                        <a:spcAft>
                          <a:spcPts val="1000"/>
                        </a:spcAft>
                        <a:buFont typeface="Symbol" panose="05050102010706020507" pitchFamily="18" charset="2"/>
                        <a:buChar char=""/>
                      </a:pPr>
                      <a:r>
                        <a:rPr lang="en-US" sz="2000" dirty="0">
                          <a:effectLst/>
                        </a:rPr>
                        <a:t>No</a:t>
                      </a:r>
                      <a:endParaRPr lang="en-US" sz="200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3225390109"/>
                  </a:ext>
                </a:extLst>
              </a:tr>
              <a:tr h="597219">
                <a:tc>
                  <a:txBody>
                    <a:bodyPr/>
                    <a:lstStyle/>
                    <a:p>
                      <a:pPr marL="0" marR="0" lvl="0">
                        <a:lnSpc>
                          <a:spcPct val="107000"/>
                        </a:lnSpc>
                        <a:spcBef>
                          <a:spcPts val="0"/>
                        </a:spcBef>
                        <a:spcAft>
                          <a:spcPts val="800"/>
                        </a:spcAft>
                        <a:buNone/>
                      </a:pPr>
                      <a:r>
                        <a:rPr lang="en-US" sz="2000" dirty="0">
                          <a:effectLst/>
                        </a:rPr>
                        <a:t>Documentation of parents or caregivers reporting an understanding of a safe sleep environment</a:t>
                      </a:r>
                      <a:endParaRPr lang="en-US" sz="200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4999"/>
                        </a:lnSpc>
                        <a:spcBef>
                          <a:spcPts val="0"/>
                        </a:spcBef>
                        <a:spcAft>
                          <a:spcPts val="0"/>
                        </a:spcAft>
                        <a:buFont typeface="Symbol" panose="05050102010706020507" pitchFamily="18" charset="2"/>
                        <a:buChar char=""/>
                      </a:pPr>
                      <a:r>
                        <a:rPr lang="en-US" sz="2000" dirty="0">
                          <a:effectLst/>
                        </a:rPr>
                        <a:t>Yes</a:t>
                      </a:r>
                      <a:endParaRPr lang="en-US"/>
                    </a:p>
                    <a:p>
                      <a:pPr marL="342900" marR="0" lvl="0" indent="-342900">
                        <a:lnSpc>
                          <a:spcPct val="114999"/>
                        </a:lnSpc>
                        <a:spcBef>
                          <a:spcPts val="0"/>
                        </a:spcBef>
                        <a:spcAft>
                          <a:spcPts val="0"/>
                        </a:spcAft>
                        <a:buFont typeface="Symbol" panose="05050102010706020507" pitchFamily="18" charset="2"/>
                        <a:buChar char=""/>
                      </a:pPr>
                      <a:r>
                        <a:rPr lang="en-US" sz="2000" dirty="0">
                          <a:effectLst/>
                        </a:rPr>
                        <a:t>No</a:t>
                      </a:r>
                      <a:endParaRPr lang="en-US" dirty="0"/>
                    </a:p>
                  </a:txBody>
                  <a:tcPr marL="39535" marR="39535" marT="0" marB="0"/>
                </a:tc>
                <a:extLst>
                  <a:ext uri="{0D108BD9-81ED-4DB2-BD59-A6C34878D82A}">
                    <a16:rowId xmlns:a16="http://schemas.microsoft.com/office/drawing/2014/main" val="2003939389"/>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2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023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Welcome Kiela! </a:t>
            </a:r>
            <a:endParaRPr lang="en-US"/>
          </a:p>
        </p:txBody>
      </p:sp>
      <p:sp>
        <p:nvSpPr>
          <p:cNvPr id="3" name="Content Placeholder 2"/>
          <p:cNvSpPr>
            <a:spLocks noGrp="1"/>
          </p:cNvSpPr>
          <p:nvPr>
            <p:ph idx="1"/>
          </p:nvPr>
        </p:nvSpPr>
        <p:spPr>
          <a:xfrm>
            <a:off x="-943155" y="1854380"/>
            <a:ext cx="9473514" cy="4351338"/>
          </a:xfrm>
        </p:spPr>
        <p:txBody>
          <a:bodyPr vert="horz" lIns="91440" tIns="45720" rIns="91440" bIns="45720" rtlCol="0" anchor="t">
            <a:noAutofit/>
          </a:bodyPr>
          <a:lstStyle/>
          <a:p>
            <a:pPr marL="0" indent="0" algn="ctr">
              <a:buNone/>
            </a:pPr>
            <a:r>
              <a:rPr lang="en-US">
                <a:ea typeface="Lato"/>
                <a:cs typeface="Lato"/>
              </a:rPr>
              <a:t>Please welcome our newest ILPQC team member: </a:t>
            </a:r>
            <a:endParaRPr lang="en-US"/>
          </a:p>
          <a:p>
            <a:pPr marL="0" indent="0" algn="ctr">
              <a:buNone/>
            </a:pPr>
            <a:endParaRPr lang="en-US"/>
          </a:p>
          <a:p>
            <a:pPr marL="0" indent="0" algn="ctr">
              <a:buNone/>
            </a:pPr>
            <a:r>
              <a:rPr lang="en-US" sz="3600" b="1">
                <a:solidFill>
                  <a:schemeClr val="accent1"/>
                </a:solidFill>
                <a:ea typeface="Lato"/>
                <a:cs typeface="Lato"/>
              </a:rPr>
              <a:t>Kiela Moreno, MPH</a:t>
            </a:r>
          </a:p>
          <a:p>
            <a:pPr marL="0" indent="0" algn="ctr">
              <a:buNone/>
            </a:pPr>
            <a:r>
              <a:rPr lang="en-US" sz="3600" b="1">
                <a:solidFill>
                  <a:schemeClr val="accent1"/>
                </a:solidFill>
                <a:ea typeface="Lato"/>
                <a:cs typeface="Lato"/>
              </a:rPr>
              <a:t>ILPQC Project Coordinator </a:t>
            </a:r>
            <a:endParaRPr lang="en-US" sz="3600" b="1">
              <a:solidFill>
                <a:schemeClr val="accent1"/>
              </a:solidFill>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descr="A person with a white shirt&#10;&#10;Description automatically generated">
            <a:extLst>
              <a:ext uri="{FF2B5EF4-FFF2-40B4-BE49-F238E27FC236}">
                <a16:creationId xmlns:a16="http://schemas.microsoft.com/office/drawing/2014/main" id="{5F5B414C-641F-D23A-485E-78838F89868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71093" y="2446546"/>
            <a:ext cx="4183812" cy="27844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921768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8DC0D-E594-6832-8202-78261BFCC8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E65BC2-3E0A-5267-2728-E75C5322EA1E}"/>
              </a:ext>
            </a:extLst>
          </p:cNvPr>
          <p:cNvSpPr>
            <a:spLocks noGrp="1"/>
          </p:cNvSpPr>
          <p:nvPr>
            <p:ph type="title"/>
          </p:nvPr>
        </p:nvSpPr>
        <p:spPr>
          <a:xfrm>
            <a:off x="609600" y="5691"/>
            <a:ext cx="10972800" cy="1325563"/>
          </a:xfrm>
          <a:noFill/>
        </p:spPr>
        <p:txBody>
          <a:bodyPr/>
          <a:lstStyle/>
          <a:p>
            <a:r>
              <a:rPr lang="en-US" dirty="0"/>
              <a:t>Patient Level Data Form</a:t>
            </a:r>
          </a:p>
        </p:txBody>
      </p:sp>
      <p:sp>
        <p:nvSpPr>
          <p:cNvPr id="4" name="Slide Number Placeholder 3">
            <a:extLst>
              <a:ext uri="{FF2B5EF4-FFF2-40B4-BE49-F238E27FC236}">
                <a16:creationId xmlns:a16="http://schemas.microsoft.com/office/drawing/2014/main" id="{016DE043-7584-6873-6F9B-3673CAAAF1F6}"/>
              </a:ext>
            </a:extLst>
          </p:cNvPr>
          <p:cNvSpPr>
            <a:spLocks noGrp="1"/>
          </p:cNvSpPr>
          <p:nvPr>
            <p:ph type="sldNum" sz="quarter" idx="10"/>
          </p:nvPr>
        </p:nvSpPr>
        <p:spPr/>
        <p:txBody>
          <a:bodyPr/>
          <a:lstStyle/>
          <a:p>
            <a:fld id="{97033E4B-E3EB-3D46-B2D8-3159663620FA}" type="slidenum">
              <a:rPr lang="en-US" smtClean="0"/>
              <a:pPr/>
              <a:t>30</a:t>
            </a:fld>
            <a:endParaRPr lang="en-US"/>
          </a:p>
        </p:txBody>
      </p:sp>
      <p:sp>
        <p:nvSpPr>
          <p:cNvPr id="5" name="Footer Placeholder 4">
            <a:extLst>
              <a:ext uri="{FF2B5EF4-FFF2-40B4-BE49-F238E27FC236}">
                <a16:creationId xmlns:a16="http://schemas.microsoft.com/office/drawing/2014/main" id="{4DBD53BF-FD96-F1B4-39F4-2CBB4705EDF4}"/>
              </a:ext>
            </a:extLst>
          </p:cNvPr>
          <p:cNvSpPr>
            <a:spLocks noGrp="1"/>
          </p:cNvSpPr>
          <p:nvPr>
            <p:ph type="ftr" sz="quarter" idx="11"/>
          </p:nvPr>
        </p:nvSpPr>
        <p:spPr/>
        <p:txBody>
          <a:bodyPr/>
          <a:lstStyle/>
          <a:p>
            <a:pPr algn="l"/>
            <a:r>
              <a:rPr lang="en-US"/>
              <a:t>Illinois Perinatal Quality Collaborative</a:t>
            </a:r>
          </a:p>
        </p:txBody>
      </p:sp>
      <p:graphicFrame>
        <p:nvGraphicFramePr>
          <p:cNvPr id="8" name="Table 7">
            <a:extLst>
              <a:ext uri="{FF2B5EF4-FFF2-40B4-BE49-F238E27FC236}">
                <a16:creationId xmlns:a16="http://schemas.microsoft.com/office/drawing/2014/main" id="{7983D868-A342-276F-1CAA-03CC6C829F2D}"/>
              </a:ext>
            </a:extLst>
          </p:cNvPr>
          <p:cNvGraphicFramePr>
            <a:graphicFrameLocks noGrp="1"/>
          </p:cNvGraphicFramePr>
          <p:nvPr>
            <p:extLst>
              <p:ext uri="{D42A27DB-BD31-4B8C-83A1-F6EECF244321}">
                <p14:modId xmlns:p14="http://schemas.microsoft.com/office/powerpoint/2010/main" val="2553598139"/>
              </p:ext>
            </p:extLst>
          </p:nvPr>
        </p:nvGraphicFramePr>
        <p:xfrm>
          <a:off x="626554" y="1474682"/>
          <a:ext cx="10961512" cy="4670298"/>
        </p:xfrm>
        <a:graphic>
          <a:graphicData uri="http://schemas.openxmlformats.org/drawingml/2006/table">
            <a:tbl>
              <a:tblPr firstRow="1" firstCol="1" bandRow="1">
                <a:tableStyleId>{21E4AEA4-8DFA-4A89-87EB-49C32662AFE0}</a:tableStyleId>
              </a:tblPr>
              <a:tblGrid>
                <a:gridCol w="6181911">
                  <a:extLst>
                    <a:ext uri="{9D8B030D-6E8A-4147-A177-3AD203B41FA5}">
                      <a16:colId xmlns:a16="http://schemas.microsoft.com/office/drawing/2014/main" val="1360226053"/>
                    </a:ext>
                  </a:extLst>
                </a:gridCol>
                <a:gridCol w="4779601">
                  <a:extLst>
                    <a:ext uri="{9D8B030D-6E8A-4147-A177-3AD203B41FA5}">
                      <a16:colId xmlns:a16="http://schemas.microsoft.com/office/drawing/2014/main" val="3275742663"/>
                    </a:ext>
                  </a:extLst>
                </a:gridCol>
              </a:tblGrid>
              <a:tr h="368184">
                <a:tc>
                  <a:txBody>
                    <a:bodyPr/>
                    <a:lstStyle/>
                    <a:p>
                      <a:pPr marL="0" marR="0">
                        <a:lnSpc>
                          <a:spcPct val="107000"/>
                        </a:lnSpc>
                        <a:spcBef>
                          <a:spcPts val="0"/>
                        </a:spcBef>
                        <a:spcAft>
                          <a:spcPts val="1000"/>
                        </a:spcAft>
                      </a:pPr>
                      <a:r>
                        <a:rPr lang="en-US" sz="2000" dirty="0">
                          <a:effectLst/>
                        </a:rPr>
                        <a:t>Documentation of a conversation with parents or caregivers about adjustment to life with a newborn and safe sleep outside of the hospital</a:t>
                      </a:r>
                      <a:endParaRPr lang="en-US" sz="2000">
                        <a:solidFill>
                          <a:schemeClr val="bg1"/>
                        </a:solidFill>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b="0" dirty="0">
                          <a:solidFill>
                            <a:schemeClr val="tx1"/>
                          </a:solidFill>
                          <a:effectLst/>
                        </a:rPr>
                        <a:t>Yes</a:t>
                      </a:r>
                    </a:p>
                    <a:p>
                      <a:pPr marL="342900" marR="0" lvl="0" indent="-342900">
                        <a:lnSpc>
                          <a:spcPct val="115000"/>
                        </a:lnSpc>
                        <a:spcBef>
                          <a:spcPts val="0"/>
                        </a:spcBef>
                        <a:spcAft>
                          <a:spcPts val="1000"/>
                        </a:spcAft>
                        <a:buFont typeface="Symbol" panose="05050102010706020507" pitchFamily="18" charset="2"/>
                        <a:buChar char=""/>
                      </a:pPr>
                      <a:r>
                        <a:rPr lang="en-US" sz="2000" b="0" dirty="0">
                          <a:solidFill>
                            <a:schemeClr val="tx1"/>
                          </a:solidFill>
                          <a:effectLst/>
                        </a:rPr>
                        <a:t>No</a:t>
                      </a:r>
                      <a:endParaRPr lang="en-US" sz="2000" b="0">
                        <a:solidFill>
                          <a:schemeClr val="tx1"/>
                        </a:solidFill>
                        <a:effectLst/>
                        <a:latin typeface="Calibri"/>
                        <a:ea typeface="Times New Roman" panose="02020603050405020304" pitchFamily="18" charset="0"/>
                        <a:cs typeface="Times New Roman"/>
                      </a:endParaRPr>
                    </a:p>
                  </a:txBody>
                  <a:tcPr marL="39535" marR="39535" marT="0" marB="0">
                    <a:solidFill>
                      <a:srgbClr val="FDEAEE"/>
                    </a:solidFill>
                  </a:tcPr>
                </a:tc>
                <a:extLst>
                  <a:ext uri="{0D108BD9-81ED-4DB2-BD59-A6C34878D82A}">
                    <a16:rowId xmlns:a16="http://schemas.microsoft.com/office/drawing/2014/main" val="649105352"/>
                  </a:ext>
                </a:extLst>
              </a:tr>
              <a:tr h="368184">
                <a:tc>
                  <a:txBody>
                    <a:bodyPr/>
                    <a:lstStyle/>
                    <a:p>
                      <a:pPr marL="0" marR="0">
                        <a:lnSpc>
                          <a:spcPct val="107000"/>
                        </a:lnSpc>
                        <a:spcBef>
                          <a:spcPts val="0"/>
                        </a:spcBef>
                        <a:spcAft>
                          <a:spcPts val="1000"/>
                        </a:spcAft>
                      </a:pPr>
                      <a:r>
                        <a:rPr lang="en-US" sz="2000" dirty="0">
                          <a:effectLst/>
                        </a:rPr>
                        <a:t>If specific anticipated challenges were identified, was there documentation of resources and guidance shared with parents or caregivers </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No</a:t>
                      </a:r>
                      <a:endParaRPr lang="en-US" sz="2000" dirty="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3346935684"/>
                  </a:ext>
                </a:extLst>
              </a:tr>
              <a:tr h="597219">
                <a:tc>
                  <a:txBody>
                    <a:bodyPr/>
                    <a:lstStyle/>
                    <a:p>
                      <a:pPr marL="0" marR="0">
                        <a:lnSpc>
                          <a:spcPct val="107000"/>
                        </a:lnSpc>
                        <a:spcBef>
                          <a:spcPts val="0"/>
                        </a:spcBef>
                        <a:spcAft>
                          <a:spcPts val="800"/>
                        </a:spcAft>
                      </a:pPr>
                      <a:r>
                        <a:rPr lang="en-US" sz="2000" dirty="0">
                          <a:effectLst/>
                        </a:rPr>
                        <a:t>Documentation in the infant chart of social determinants of health (SDOH) screening completed</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Documented / SDOH needs identified </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Documented / No SDOH needs identified</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Not Documented</a:t>
                      </a:r>
                      <a:endParaRPr lang="en-US" sz="2000" dirty="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1802044326"/>
                  </a:ext>
                </a:extLst>
              </a:tr>
              <a:tr h="597219">
                <a:tc>
                  <a:txBody>
                    <a:bodyPr/>
                    <a:lstStyle/>
                    <a:p>
                      <a:pPr marL="0" marR="0">
                        <a:lnSpc>
                          <a:spcPct val="115000"/>
                        </a:lnSpc>
                        <a:spcBef>
                          <a:spcPts val="0"/>
                        </a:spcBef>
                        <a:spcAft>
                          <a:spcPts val="0"/>
                        </a:spcAft>
                      </a:pPr>
                      <a:r>
                        <a:rPr lang="en-US" sz="2000" dirty="0">
                          <a:effectLst/>
                        </a:rPr>
                        <a:t>Parent or caregiver with SDOH needs identified have documentation of linkage to needed resources/services in the infant chart</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No</a:t>
                      </a:r>
                      <a:endParaRPr lang="en-US" sz="2000" dirty="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4231315181"/>
                  </a:ext>
                </a:extLst>
              </a:tr>
              <a:tr h="597219">
                <a:tc>
                  <a:txBody>
                    <a:bodyPr/>
                    <a:lstStyle/>
                    <a:p>
                      <a:pPr lvl="0" algn="l">
                        <a:lnSpc>
                          <a:spcPct val="100000"/>
                        </a:lnSpc>
                        <a:spcBef>
                          <a:spcPts val="0"/>
                        </a:spcBef>
                        <a:spcAft>
                          <a:spcPts val="0"/>
                        </a:spcAft>
                        <a:buNone/>
                      </a:pPr>
                      <a:r>
                        <a:rPr lang="en-US" sz="2000" b="1" i="0" u="none" strike="noStrike" noProof="0" dirty="0">
                          <a:effectLst/>
                          <a:latin typeface="Calibri"/>
                        </a:rPr>
                        <a:t>Documentation of ESSI Bundle components in the</a:t>
                      </a:r>
                    </a:p>
                    <a:p>
                      <a:pPr lvl="0" algn="l">
                        <a:lnSpc>
                          <a:spcPct val="100000"/>
                        </a:lnSpc>
                        <a:spcBef>
                          <a:spcPts val="0"/>
                        </a:spcBef>
                        <a:spcAft>
                          <a:spcPts val="0"/>
                        </a:spcAft>
                        <a:buNone/>
                      </a:pPr>
                      <a:r>
                        <a:rPr lang="en-US" sz="2000" b="1" i="0" u="none" strike="noStrike" noProof="0" dirty="0">
                          <a:effectLst/>
                          <a:latin typeface="Calibri"/>
                        </a:rPr>
                        <a:t>discharge summary</a:t>
                      </a:r>
                      <a:endParaRPr lang="en-US" dirty="0"/>
                    </a:p>
                  </a:txBody>
                  <a:tcPr marL="39535" marR="39535" marT="0" marB="0"/>
                </a:tc>
                <a:tc>
                  <a:txBody>
                    <a:bodyPr/>
                    <a:lstStyle/>
                    <a:p>
                      <a:pPr marL="342900" marR="0" lvl="0" indent="-342900">
                        <a:lnSpc>
                          <a:spcPct val="114999"/>
                        </a:lnSpc>
                        <a:spcBef>
                          <a:spcPts val="0"/>
                        </a:spcBef>
                        <a:spcAft>
                          <a:spcPts val="0"/>
                        </a:spcAft>
                        <a:buFont typeface="Symbol" panose="05050102010706020507" pitchFamily="18" charset="2"/>
                        <a:buChar char=""/>
                      </a:pPr>
                      <a:r>
                        <a:rPr lang="en-US" sz="2000" dirty="0">
                          <a:effectLst/>
                        </a:rPr>
                        <a:t>Yes</a:t>
                      </a:r>
                      <a:endParaRPr lang="en-US"/>
                    </a:p>
                    <a:p>
                      <a:pPr marL="342900" marR="0" lvl="0" indent="-342900">
                        <a:lnSpc>
                          <a:spcPct val="114999"/>
                        </a:lnSpc>
                        <a:spcBef>
                          <a:spcPts val="0"/>
                        </a:spcBef>
                        <a:spcAft>
                          <a:spcPts val="0"/>
                        </a:spcAft>
                        <a:buFont typeface="Symbol" panose="05050102010706020507" pitchFamily="18" charset="2"/>
                        <a:buChar char=""/>
                      </a:pPr>
                      <a:r>
                        <a:rPr lang="en-US" sz="2000" dirty="0">
                          <a:effectLst/>
                        </a:rPr>
                        <a:t>No</a:t>
                      </a:r>
                      <a:endParaRPr lang="en-US" sz="2000">
                        <a:effectLst/>
                        <a:latin typeface="Calibri"/>
                        <a:cs typeface="Times New Roman"/>
                      </a:endParaRPr>
                    </a:p>
                  </a:txBody>
                  <a:tcPr marL="39535" marR="39535" marT="0" marB="0"/>
                </a:tc>
                <a:extLst>
                  <a:ext uri="{0D108BD9-81ED-4DB2-BD59-A6C34878D82A}">
                    <a16:rowId xmlns:a16="http://schemas.microsoft.com/office/drawing/2014/main" val="3168283162"/>
                  </a:ext>
                </a:extLst>
              </a:tr>
            </a:tbl>
          </a:graphicData>
        </a:graphic>
      </p:graphicFrame>
    </p:spTree>
    <p:extLst>
      <p:ext uri="{BB962C8B-B14F-4D97-AF65-F5344CB8AC3E}">
        <p14:creationId xmlns:p14="http://schemas.microsoft.com/office/powerpoint/2010/main" val="19964008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73EC-1DD6-BB4A-FC55-6BA73A7F9CE0}"/>
              </a:ext>
            </a:extLst>
          </p:cNvPr>
          <p:cNvSpPr>
            <a:spLocks noGrp="1"/>
          </p:cNvSpPr>
          <p:nvPr>
            <p:ph type="title"/>
          </p:nvPr>
        </p:nvSpPr>
        <p:spPr/>
        <p:txBody>
          <a:bodyPr/>
          <a:lstStyle/>
          <a:p>
            <a:r>
              <a:rPr lang="en-US" dirty="0">
                <a:ea typeface="Lato Medium"/>
                <a:cs typeface="Lato Medium"/>
              </a:rPr>
              <a:t>ESSI Bundle</a:t>
            </a:r>
            <a:endParaRPr lang="en-US" dirty="0"/>
          </a:p>
        </p:txBody>
      </p:sp>
      <p:sp>
        <p:nvSpPr>
          <p:cNvPr id="3" name="Content Placeholder 2">
            <a:extLst>
              <a:ext uri="{FF2B5EF4-FFF2-40B4-BE49-F238E27FC236}">
                <a16:creationId xmlns:a16="http://schemas.microsoft.com/office/drawing/2014/main" id="{C897915C-45D7-A970-FA8A-CAFB0C121186}"/>
              </a:ext>
            </a:extLst>
          </p:cNvPr>
          <p:cNvSpPr>
            <a:spLocks noGrp="1"/>
          </p:cNvSpPr>
          <p:nvPr>
            <p:ph idx="1"/>
          </p:nvPr>
        </p:nvSpPr>
        <p:spPr/>
        <p:txBody>
          <a:bodyPr vert="horz" lIns="91440" tIns="45720" rIns="91440" bIns="45720" rtlCol="0" anchor="t">
            <a:noAutofit/>
          </a:bodyPr>
          <a:lstStyle/>
          <a:p>
            <a:r>
              <a:rPr lang="en-US" dirty="0">
                <a:solidFill>
                  <a:srgbClr val="000000"/>
                </a:solidFill>
                <a:latin typeface="Calibri"/>
                <a:ea typeface="Lato"/>
                <a:cs typeface="Times New Roman"/>
              </a:rPr>
              <a:t>ESSI Bundle: </a:t>
            </a:r>
            <a:endParaRPr lang="en-US">
              <a:solidFill>
                <a:srgbClr val="444C55"/>
              </a:solidFill>
              <a:latin typeface="Calibri" panose="020F0502020204030204"/>
              <a:ea typeface="Lato"/>
            </a:endParaRPr>
          </a:p>
          <a:p>
            <a:pPr lvl="1">
              <a:buClr>
                <a:srgbClr val="1C498B"/>
              </a:buClr>
              <a:buFont typeface="Courier New" panose="020B0604020202020204" pitchFamily="34" charset="0"/>
              <a:buChar char="o"/>
            </a:pPr>
            <a:r>
              <a:rPr lang="en-US" dirty="0">
                <a:solidFill>
                  <a:srgbClr val="000000"/>
                </a:solidFill>
                <a:latin typeface="Calibri"/>
                <a:ea typeface="Lato"/>
                <a:cs typeface="Times New Roman"/>
              </a:rPr>
              <a:t>Parents or caregivers report an understanding of a safe sleep environment.</a:t>
            </a:r>
            <a:endParaRPr lang="en-US">
              <a:latin typeface="Calibri"/>
              <a:ea typeface="Lato"/>
            </a:endParaRPr>
          </a:p>
          <a:p>
            <a:pPr lvl="1">
              <a:buClr>
                <a:srgbClr val="1C498B"/>
              </a:buClr>
              <a:buFont typeface="Courier New" panose="020B0604020202020204" pitchFamily="34" charset="0"/>
              <a:buChar char="o"/>
            </a:pPr>
            <a:r>
              <a:rPr lang="en-US" dirty="0">
                <a:solidFill>
                  <a:srgbClr val="000000"/>
                </a:solidFill>
                <a:latin typeface="Calibri"/>
                <a:ea typeface="Lato"/>
                <a:cs typeface="Times New Roman"/>
              </a:rPr>
              <a:t>Family is prepared for a transition to home, including </a:t>
            </a:r>
            <a:r>
              <a:rPr lang="en-US" dirty="0" err="1">
                <a:solidFill>
                  <a:srgbClr val="000000"/>
                </a:solidFill>
                <a:latin typeface="Calibri"/>
                <a:ea typeface="Lato"/>
                <a:cs typeface="Times New Roman"/>
              </a:rPr>
              <a:t>SDoH</a:t>
            </a:r>
            <a:r>
              <a:rPr lang="en-US" dirty="0">
                <a:solidFill>
                  <a:srgbClr val="000000"/>
                </a:solidFill>
                <a:latin typeface="Calibri"/>
                <a:ea typeface="Lato"/>
                <a:cs typeface="Times New Roman"/>
              </a:rPr>
              <a:t> screening and resource linkage.</a:t>
            </a:r>
            <a:endParaRPr lang="en-US" dirty="0">
              <a:latin typeface="Calibri"/>
              <a:ea typeface="Lato"/>
            </a:endParaRPr>
          </a:p>
          <a:p>
            <a:pPr lvl="1">
              <a:buClr>
                <a:srgbClr val="1C498B"/>
              </a:buClr>
              <a:buFont typeface="Courier New" panose="020B0604020202020204" pitchFamily="34" charset="0"/>
              <a:buChar char="o"/>
            </a:pPr>
            <a:r>
              <a:rPr lang="en-US" dirty="0">
                <a:solidFill>
                  <a:srgbClr val="000000"/>
                </a:solidFill>
                <a:latin typeface="Calibri"/>
                <a:ea typeface="Lato"/>
                <a:cs typeface="Times New Roman"/>
              </a:rPr>
              <a:t>Communication to primary care provider completed.</a:t>
            </a:r>
            <a:endParaRPr lang="en-US" dirty="0">
              <a:latin typeface="Calibri"/>
              <a:ea typeface="Lato"/>
            </a:endParaRPr>
          </a:p>
          <a:p>
            <a:pPr lvl="2">
              <a:buFont typeface="Wingdings" panose="020B0604020202020204" pitchFamily="34" charset="0"/>
              <a:buChar char="§"/>
            </a:pPr>
            <a:r>
              <a:rPr lang="en-US" dirty="0">
                <a:solidFill>
                  <a:srgbClr val="000000"/>
                </a:solidFill>
                <a:latin typeface="Calibri"/>
                <a:ea typeface="Lato"/>
                <a:cs typeface="Times New Roman"/>
              </a:rPr>
              <a:t>Call to primary care provider</a:t>
            </a:r>
          </a:p>
          <a:p>
            <a:pPr lvl="2">
              <a:buFont typeface="Wingdings" panose="020B0604020202020204" pitchFamily="34" charset="0"/>
              <a:buChar char="§"/>
            </a:pPr>
            <a:r>
              <a:rPr lang="en-US" dirty="0">
                <a:solidFill>
                  <a:srgbClr val="000000"/>
                </a:solidFill>
                <a:latin typeface="Calibri"/>
                <a:ea typeface="Lato"/>
                <a:cs typeface="Times New Roman"/>
              </a:rPr>
              <a:t>Discharge summary faxed over</a:t>
            </a:r>
          </a:p>
          <a:p>
            <a:pPr lvl="2">
              <a:buFont typeface="Wingdings" panose="020B0604020202020204" pitchFamily="34" charset="0"/>
              <a:buChar char="§"/>
            </a:pPr>
            <a:r>
              <a:rPr lang="en-US" dirty="0">
                <a:solidFill>
                  <a:srgbClr val="000000"/>
                </a:solidFill>
                <a:latin typeface="Calibri"/>
                <a:ea typeface="Lato"/>
                <a:cs typeface="Times New Roman"/>
              </a:rPr>
              <a:t>Discharge summary printed and sent home to bring to first appointment </a:t>
            </a:r>
            <a:endParaRPr lang="en-US" dirty="0">
              <a:solidFill>
                <a:srgbClr val="000000"/>
              </a:solidFill>
              <a:latin typeface="Times New Roman"/>
              <a:cs typeface="Times New Roman"/>
            </a:endParaRPr>
          </a:p>
          <a:p>
            <a:endParaRPr lang="en-US" dirty="0"/>
          </a:p>
        </p:txBody>
      </p:sp>
      <p:sp>
        <p:nvSpPr>
          <p:cNvPr id="4" name="Slide Number Placeholder 3">
            <a:extLst>
              <a:ext uri="{FF2B5EF4-FFF2-40B4-BE49-F238E27FC236}">
                <a16:creationId xmlns:a16="http://schemas.microsoft.com/office/drawing/2014/main" id="{A24410F2-3B6D-576E-1371-06507E7DAF4C}"/>
              </a:ext>
            </a:extLst>
          </p:cNvPr>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a:extLst>
              <a:ext uri="{FF2B5EF4-FFF2-40B4-BE49-F238E27FC236}">
                <a16:creationId xmlns:a16="http://schemas.microsoft.com/office/drawing/2014/main" id="{CD58BE53-51B0-8294-07FF-7531C05C4054}"/>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1414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5777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9FE7D1D-AAD9-96C4-449C-05CDE1CB8665}"/>
              </a:ext>
            </a:extLst>
          </p:cNvPr>
          <p:cNvSpPr>
            <a:spLocks noGrp="1"/>
          </p:cNvSpPr>
          <p:nvPr>
            <p:ph type="title"/>
          </p:nvPr>
        </p:nvSpPr>
        <p:spPr>
          <a:xfrm>
            <a:off x="640080" y="2074363"/>
            <a:ext cx="2752354" cy="2709275"/>
          </a:xfrm>
          <a:prstGeom prst="ellipse">
            <a:avLst/>
          </a:prstGeom>
          <a:solidFill>
            <a:schemeClr val="accent3"/>
          </a:solidFill>
          <a:ln w="174625" cmpd="thinThick">
            <a:solidFill>
              <a:srgbClr val="262626"/>
            </a:solidFill>
          </a:ln>
        </p:spPr>
        <p:txBody>
          <a:bodyPr vert="horz" lIns="91440" tIns="45720" rIns="91440" bIns="45720" rtlCol="0" anchor="ctr">
            <a:normAutofit/>
          </a:bodyPr>
          <a:lstStyle/>
          <a:p>
            <a:pPr algn="ctr">
              <a:lnSpc>
                <a:spcPct val="90000"/>
              </a:lnSpc>
            </a:pPr>
            <a:r>
              <a:rPr lang="en-US" sz="2600" kern="1200">
                <a:solidFill>
                  <a:srgbClr val="FFFFFF"/>
                </a:solidFill>
                <a:latin typeface="+mj-lt"/>
                <a:ea typeface="+mj-ea"/>
                <a:cs typeface="+mj-cs"/>
              </a:rPr>
              <a:t>Close Out and Save the Form</a:t>
            </a:r>
          </a:p>
        </p:txBody>
      </p:sp>
      <p:pic>
        <p:nvPicPr>
          <p:cNvPr id="6" name="Content Placeholder 5" descr="A screenshot of a computer&#10;&#10;Description automatically generated">
            <a:extLst>
              <a:ext uri="{FF2B5EF4-FFF2-40B4-BE49-F238E27FC236}">
                <a16:creationId xmlns:a16="http://schemas.microsoft.com/office/drawing/2014/main" id="{3D5FF0C6-9AD5-88AB-36AB-15CCD15D0DC1}"/>
              </a:ext>
            </a:extLst>
          </p:cNvPr>
          <p:cNvPicPr>
            <a:picLocks noGrp="1" noChangeAspect="1"/>
          </p:cNvPicPr>
          <p:nvPr>
            <p:ph idx="1"/>
          </p:nvPr>
        </p:nvPicPr>
        <p:blipFill>
          <a:blip r:embed="rId2"/>
          <a:stretch>
            <a:fillRect/>
          </a:stretch>
        </p:blipFill>
        <p:spPr>
          <a:xfrm>
            <a:off x="3506637" y="1274430"/>
            <a:ext cx="8640312" cy="4794581"/>
          </a:xfrm>
          <a:prstGeom prst="rect">
            <a:avLst/>
          </a:prstGeom>
        </p:spPr>
      </p:pic>
      <p:sp>
        <p:nvSpPr>
          <p:cNvPr id="5" name="Footer Placeholder 4">
            <a:extLst>
              <a:ext uri="{FF2B5EF4-FFF2-40B4-BE49-F238E27FC236}">
                <a16:creationId xmlns:a16="http://schemas.microsoft.com/office/drawing/2014/main" id="{0B73D8D2-C2DB-C39B-F46F-37D6415F0A05}"/>
              </a:ext>
            </a:extLst>
          </p:cNvPr>
          <p:cNvSpPr>
            <a:spLocks noGrp="1"/>
          </p:cNvSpPr>
          <p:nvPr>
            <p:ph type="ftr" sz="quarter" idx="11"/>
          </p:nvPr>
        </p:nvSpPr>
        <p:spPr>
          <a:xfrm>
            <a:off x="4116613" y="6356350"/>
            <a:ext cx="7032172" cy="365125"/>
          </a:xfrm>
        </p:spPr>
        <p:txBody>
          <a:bodyPr vert="horz" lIns="91440" tIns="45720" rIns="91440" bIns="45720" rtlCol="0" anchor="ctr">
            <a:normAutofit/>
          </a:bodyPr>
          <a:lstStyle/>
          <a:p>
            <a:pPr>
              <a:spcAft>
                <a:spcPts val="600"/>
              </a:spcAft>
            </a:pPr>
            <a:r>
              <a:rPr lang="en-US" kern="1200">
                <a:solidFill>
                  <a:srgbClr val="898989"/>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73E73FB8-71B1-7DC6-D8C4-8F321B89D124}"/>
              </a:ext>
            </a:extLst>
          </p:cNvPr>
          <p:cNvSpPr>
            <a:spLocks noGrp="1"/>
          </p:cNvSpPr>
          <p:nvPr>
            <p:ph type="sldNum" sz="quarter" idx="10"/>
          </p:nvPr>
        </p:nvSpPr>
        <p:spPr>
          <a:xfrm>
            <a:off x="11310257" y="6356350"/>
            <a:ext cx="560009" cy="365125"/>
          </a:xfrm>
        </p:spPr>
        <p:txBody>
          <a:bodyPr vert="horz" lIns="91440" tIns="45720" rIns="91440" bIns="45720" rtlCol="0" anchor="ctr">
            <a:normAutofit/>
          </a:bodyPr>
          <a:lstStyle/>
          <a:p>
            <a:pPr>
              <a:spcAft>
                <a:spcPts val="600"/>
              </a:spcAft>
            </a:pPr>
            <a:fld id="{97033E4B-E3EB-3D46-B2D8-3159663620FA}" type="slidenum">
              <a:rPr lang="en-US">
                <a:solidFill>
                  <a:srgbClr val="898989"/>
                </a:solidFill>
              </a:rPr>
              <a:pPr>
                <a:spcAft>
                  <a:spcPts val="600"/>
                </a:spcAft>
              </a:pPr>
              <a:t>32</a:t>
            </a:fld>
            <a:endParaRPr lang="en-US">
              <a:solidFill>
                <a:srgbClr val="898989"/>
              </a:solidFill>
            </a:endParaRPr>
          </a:p>
        </p:txBody>
      </p:sp>
      <p:sp>
        <p:nvSpPr>
          <p:cNvPr id="7" name="Rectangle: Rounded Corners 6">
            <a:extLst>
              <a:ext uri="{FF2B5EF4-FFF2-40B4-BE49-F238E27FC236}">
                <a16:creationId xmlns:a16="http://schemas.microsoft.com/office/drawing/2014/main" id="{8244CB38-9DB6-FCBC-AA67-A8F3AD7D5689}"/>
              </a:ext>
            </a:extLst>
          </p:cNvPr>
          <p:cNvSpPr/>
          <p:nvPr/>
        </p:nvSpPr>
        <p:spPr>
          <a:xfrm>
            <a:off x="3383280" y="1112520"/>
            <a:ext cx="747622" cy="301924"/>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18868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5100F-420D-CB68-2575-2DC3BEBF4CB0}"/>
              </a:ext>
            </a:extLst>
          </p:cNvPr>
          <p:cNvSpPr>
            <a:spLocks noGrp="1"/>
          </p:cNvSpPr>
          <p:nvPr>
            <p:ph type="title"/>
          </p:nvPr>
        </p:nvSpPr>
        <p:spPr/>
        <p:txBody>
          <a:bodyPr/>
          <a:lstStyle/>
          <a:p>
            <a:r>
              <a:rPr lang="en-US" dirty="0">
                <a:ea typeface="Lato Medium"/>
                <a:cs typeface="Lato Medium"/>
              </a:rPr>
              <a:t>Accessing Reports</a:t>
            </a:r>
            <a:endParaRPr lang="en-US">
              <a:ea typeface="Lato Medium"/>
              <a:cs typeface="Lato Medium"/>
            </a:endParaRPr>
          </a:p>
        </p:txBody>
      </p:sp>
      <p:pic>
        <p:nvPicPr>
          <p:cNvPr id="6" name="Content Placeholder 5" descr="A screenshot of a computer&#10;&#10;Description automatically generated">
            <a:extLst>
              <a:ext uri="{FF2B5EF4-FFF2-40B4-BE49-F238E27FC236}">
                <a16:creationId xmlns:a16="http://schemas.microsoft.com/office/drawing/2014/main" id="{9E6AB7D9-754E-DDFE-827B-A8DDBC97BAE7}"/>
              </a:ext>
            </a:extLst>
          </p:cNvPr>
          <p:cNvPicPr>
            <a:picLocks noGrp="1" noChangeAspect="1"/>
          </p:cNvPicPr>
          <p:nvPr>
            <p:ph idx="1"/>
          </p:nvPr>
        </p:nvPicPr>
        <p:blipFill>
          <a:blip r:embed="rId2"/>
          <a:stretch>
            <a:fillRect/>
          </a:stretch>
        </p:blipFill>
        <p:spPr>
          <a:xfrm>
            <a:off x="2019152" y="1908968"/>
            <a:ext cx="2510133" cy="4351338"/>
          </a:xfrm>
        </p:spPr>
      </p:pic>
      <p:sp>
        <p:nvSpPr>
          <p:cNvPr id="4" name="Slide Number Placeholder 3">
            <a:extLst>
              <a:ext uri="{FF2B5EF4-FFF2-40B4-BE49-F238E27FC236}">
                <a16:creationId xmlns:a16="http://schemas.microsoft.com/office/drawing/2014/main" id="{A87D2AA1-7E54-476B-A870-4F5AF46C53DF}"/>
              </a:ext>
            </a:extLst>
          </p:cNvPr>
          <p:cNvSpPr>
            <a:spLocks noGrp="1"/>
          </p:cNvSpPr>
          <p:nvPr>
            <p:ph type="sldNum" sz="quarter" idx="10"/>
          </p:nvPr>
        </p:nvSpPr>
        <p:spPr/>
        <p:txBody>
          <a:bodyPr/>
          <a:lstStyle/>
          <a:p>
            <a:fld id="{97033E4B-E3EB-3D46-B2D8-3159663620FA}" type="slidenum">
              <a:rPr lang="en-US" smtClean="0"/>
              <a:pPr/>
              <a:t>33</a:t>
            </a:fld>
            <a:endParaRPr lang="en-US"/>
          </a:p>
        </p:txBody>
      </p:sp>
      <p:sp>
        <p:nvSpPr>
          <p:cNvPr id="5" name="Footer Placeholder 4">
            <a:extLst>
              <a:ext uri="{FF2B5EF4-FFF2-40B4-BE49-F238E27FC236}">
                <a16:creationId xmlns:a16="http://schemas.microsoft.com/office/drawing/2014/main" id="{93D51198-DFA7-D204-D221-E44817C2779F}"/>
              </a:ext>
            </a:extLst>
          </p:cNvPr>
          <p:cNvSpPr>
            <a:spLocks noGrp="1"/>
          </p:cNvSpPr>
          <p:nvPr>
            <p:ph type="ftr" sz="quarter" idx="11"/>
          </p:nvPr>
        </p:nvSpPr>
        <p:spPr/>
        <p:txBody>
          <a:bodyPr/>
          <a:lstStyle/>
          <a:p>
            <a:pPr algn="l"/>
            <a:r>
              <a:rPr lang="en-US"/>
              <a:t>Illinois Perinatal Quality Collaborative</a:t>
            </a:r>
          </a:p>
        </p:txBody>
      </p:sp>
      <p:sp>
        <p:nvSpPr>
          <p:cNvPr id="8" name="Arrow: Right 7">
            <a:extLst>
              <a:ext uri="{FF2B5EF4-FFF2-40B4-BE49-F238E27FC236}">
                <a16:creationId xmlns:a16="http://schemas.microsoft.com/office/drawing/2014/main" id="{C3038878-2635-384E-3588-1C0333F4228F}"/>
              </a:ext>
            </a:extLst>
          </p:cNvPr>
          <p:cNvSpPr/>
          <p:nvPr/>
        </p:nvSpPr>
        <p:spPr>
          <a:xfrm>
            <a:off x="556617" y="5753695"/>
            <a:ext cx="1428748" cy="70246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DC5C302-7AA6-34F8-4F89-806E68BD81B5}"/>
              </a:ext>
            </a:extLst>
          </p:cNvPr>
          <p:cNvSpPr txBox="1"/>
          <p:nvPr/>
        </p:nvSpPr>
        <p:spPr>
          <a:xfrm>
            <a:off x="2976" y="4277319"/>
            <a:ext cx="19812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Scrolls down and click report on the left side</a:t>
            </a:r>
            <a:endParaRPr lang="en-US"/>
          </a:p>
        </p:txBody>
      </p:sp>
      <p:pic>
        <p:nvPicPr>
          <p:cNvPr id="14" name="Picture 13" descr="A screenshot of a login&#10;&#10;Description automatically generated">
            <a:extLst>
              <a:ext uri="{FF2B5EF4-FFF2-40B4-BE49-F238E27FC236}">
                <a16:creationId xmlns:a16="http://schemas.microsoft.com/office/drawing/2014/main" id="{AC3E8AF1-85D6-FBD8-C212-D67BF150CF61}"/>
              </a:ext>
            </a:extLst>
          </p:cNvPr>
          <p:cNvPicPr>
            <a:picLocks noChangeAspect="1"/>
          </p:cNvPicPr>
          <p:nvPr/>
        </p:nvPicPr>
        <p:blipFill>
          <a:blip r:embed="rId3"/>
          <a:stretch>
            <a:fillRect/>
          </a:stretch>
        </p:blipFill>
        <p:spPr>
          <a:xfrm>
            <a:off x="6291262" y="2240756"/>
            <a:ext cx="4371975" cy="2781300"/>
          </a:xfrm>
          <a:prstGeom prst="rect">
            <a:avLst/>
          </a:prstGeom>
        </p:spPr>
      </p:pic>
      <p:sp>
        <p:nvSpPr>
          <p:cNvPr id="15" name="TextBox 14">
            <a:extLst>
              <a:ext uri="{FF2B5EF4-FFF2-40B4-BE49-F238E27FC236}">
                <a16:creationId xmlns:a16="http://schemas.microsoft.com/office/drawing/2014/main" id="{CEA5E17D-83B8-0221-9D35-886C9924A78D}"/>
              </a:ext>
            </a:extLst>
          </p:cNvPr>
          <p:cNvSpPr txBox="1"/>
          <p:nvPr/>
        </p:nvSpPr>
        <p:spPr>
          <a:xfrm rot="-10800000" flipV="1">
            <a:off x="6098975" y="1681757"/>
            <a:ext cx="471963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Enter Your Hospital ID</a:t>
            </a:r>
            <a:endParaRPr lang="en-US" dirty="0"/>
          </a:p>
        </p:txBody>
      </p:sp>
      <p:sp>
        <p:nvSpPr>
          <p:cNvPr id="16" name="Rectangle 15">
            <a:extLst>
              <a:ext uri="{FF2B5EF4-FFF2-40B4-BE49-F238E27FC236}">
                <a16:creationId xmlns:a16="http://schemas.microsoft.com/office/drawing/2014/main" id="{DB99B727-7CDB-518A-CB4B-346F91B8340E}"/>
              </a:ext>
            </a:extLst>
          </p:cNvPr>
          <p:cNvSpPr/>
          <p:nvPr/>
        </p:nvSpPr>
        <p:spPr>
          <a:xfrm>
            <a:off x="6637734" y="5414367"/>
            <a:ext cx="4036219" cy="8572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cs typeface="Calibri"/>
              </a:rPr>
              <a:t>ESSI Reports Coming soon!</a:t>
            </a:r>
            <a:endParaRPr lang="en-US"/>
          </a:p>
        </p:txBody>
      </p:sp>
    </p:spTree>
    <p:extLst>
      <p:ext uri="{BB962C8B-B14F-4D97-AF65-F5344CB8AC3E}">
        <p14:creationId xmlns:p14="http://schemas.microsoft.com/office/powerpoint/2010/main" val="1961791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E3F33-C3B5-E055-DCEE-2F9C85028D71}"/>
              </a:ext>
            </a:extLst>
          </p:cNvPr>
          <p:cNvSpPr>
            <a:spLocks noGrp="1"/>
          </p:cNvSpPr>
          <p:nvPr>
            <p:ph type="title"/>
          </p:nvPr>
        </p:nvSpPr>
        <p:spPr/>
        <p:txBody>
          <a:bodyPr/>
          <a:lstStyle/>
          <a:p>
            <a:r>
              <a:rPr lang="en-US" dirty="0">
                <a:ea typeface="Lato Medium"/>
                <a:cs typeface="Lato Medium"/>
              </a:rPr>
              <a:t>Data Collection Timelines</a:t>
            </a:r>
            <a:endParaRPr lang="en-US" dirty="0"/>
          </a:p>
        </p:txBody>
      </p:sp>
      <p:sp>
        <p:nvSpPr>
          <p:cNvPr id="3" name="Content Placeholder 2">
            <a:extLst>
              <a:ext uri="{FF2B5EF4-FFF2-40B4-BE49-F238E27FC236}">
                <a16:creationId xmlns:a16="http://schemas.microsoft.com/office/drawing/2014/main" id="{A8FB859F-8E0E-956F-2CC7-6B79360725AD}"/>
              </a:ext>
            </a:extLst>
          </p:cNvPr>
          <p:cNvSpPr>
            <a:spLocks noGrp="1"/>
          </p:cNvSpPr>
          <p:nvPr>
            <p:ph idx="1"/>
          </p:nvPr>
        </p:nvSpPr>
        <p:spPr/>
        <p:txBody>
          <a:bodyPr vert="horz" lIns="91440" tIns="45720" rIns="91440" bIns="45720" rtlCol="0" anchor="t">
            <a:noAutofit/>
          </a:bodyPr>
          <a:lstStyle/>
          <a:p>
            <a:r>
              <a:rPr lang="en-US" dirty="0">
                <a:ea typeface="Lato"/>
                <a:cs typeface="Lato"/>
              </a:rPr>
              <a:t>Baseline Data (October-December 2024): Due February 15th</a:t>
            </a:r>
          </a:p>
          <a:p>
            <a:r>
              <a:rPr lang="en-US" dirty="0">
                <a:ea typeface="Lato"/>
                <a:cs typeface="Calibri"/>
              </a:rPr>
              <a:t>Ongoing data due on the final day of the following month:</a:t>
            </a:r>
          </a:p>
          <a:p>
            <a:pPr lvl="1">
              <a:buClr>
                <a:srgbClr val="1C498B"/>
              </a:buClr>
              <a:buFont typeface="Courier New,monospace" panose="020B0604020202020204" pitchFamily="34" charset="0"/>
              <a:buChar char="o"/>
            </a:pPr>
            <a:r>
              <a:rPr lang="en-US" dirty="0">
                <a:ea typeface="Lato"/>
                <a:cs typeface="Calibri"/>
              </a:rPr>
              <a:t>January Data Due February 29th</a:t>
            </a:r>
          </a:p>
          <a:p>
            <a:pPr lvl="1">
              <a:buClr>
                <a:srgbClr val="1C498B"/>
              </a:buClr>
              <a:buFont typeface="Courier New,monospace" panose="020B0604020202020204" pitchFamily="34" charset="0"/>
              <a:buChar char="o"/>
            </a:pPr>
            <a:r>
              <a:rPr lang="en-US" dirty="0">
                <a:ea typeface="Lato"/>
                <a:cs typeface="Calibri"/>
              </a:rPr>
              <a:t>February Data due March 31st</a:t>
            </a:r>
          </a:p>
          <a:p>
            <a:pPr lvl="1">
              <a:buClr>
                <a:srgbClr val="1C498B"/>
              </a:buClr>
              <a:buFont typeface="Courier New,monospace" panose="020B0604020202020204" pitchFamily="34" charset="0"/>
              <a:buChar char="o"/>
            </a:pPr>
            <a:r>
              <a:rPr lang="en-US" dirty="0">
                <a:ea typeface="Lato"/>
                <a:cs typeface="Calibri"/>
              </a:rPr>
              <a:t>March Data Due April 30th</a:t>
            </a:r>
            <a:endParaRPr lang="en-US" dirty="0"/>
          </a:p>
          <a:p>
            <a:r>
              <a:rPr lang="en-US" dirty="0">
                <a:ea typeface="Lato"/>
                <a:cs typeface="Lato"/>
              </a:rPr>
              <a:t>Award Data: Baseline – March data due April 30th</a:t>
            </a:r>
          </a:p>
        </p:txBody>
      </p:sp>
      <p:sp>
        <p:nvSpPr>
          <p:cNvPr id="4" name="Slide Number Placeholder 3">
            <a:extLst>
              <a:ext uri="{FF2B5EF4-FFF2-40B4-BE49-F238E27FC236}">
                <a16:creationId xmlns:a16="http://schemas.microsoft.com/office/drawing/2014/main" id="{578FBD2C-EF0D-27DE-A30C-E3B2A26CD63A}"/>
              </a:ext>
            </a:extLst>
          </p:cNvPr>
          <p:cNvSpPr>
            <a:spLocks noGrp="1"/>
          </p:cNvSpPr>
          <p:nvPr>
            <p:ph type="sldNum" sz="quarter" idx="10"/>
          </p:nvPr>
        </p:nvSpPr>
        <p:spPr/>
        <p:txBody>
          <a:bodyPr/>
          <a:lstStyle/>
          <a:p>
            <a:fld id="{97033E4B-E3EB-3D46-B2D8-3159663620FA}" type="slidenum">
              <a:rPr lang="en-US" smtClean="0"/>
              <a:pPr/>
              <a:t>34</a:t>
            </a:fld>
            <a:endParaRPr lang="en-US"/>
          </a:p>
        </p:txBody>
      </p:sp>
      <p:sp>
        <p:nvSpPr>
          <p:cNvPr id="5" name="Footer Placeholder 4">
            <a:extLst>
              <a:ext uri="{FF2B5EF4-FFF2-40B4-BE49-F238E27FC236}">
                <a16:creationId xmlns:a16="http://schemas.microsoft.com/office/drawing/2014/main" id="{5DD5C2F7-CC9C-B84B-F5E0-2D89F85A1AAD}"/>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83153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414427" y="240582"/>
            <a:ext cx="10972800" cy="1325563"/>
          </a:xfrm>
        </p:spPr>
        <p:txBody>
          <a:bodyPr/>
          <a:lstStyle/>
          <a:p>
            <a:r>
              <a:rPr lang="en-US" dirty="0">
                <a:ea typeface="Lato Medium"/>
                <a:cs typeface="Lato Medium"/>
              </a:rPr>
              <a:t>Upcoming ESSI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extLst>
              <p:ext uri="{D42A27DB-BD31-4B8C-83A1-F6EECF244321}">
                <p14:modId xmlns:p14="http://schemas.microsoft.com/office/powerpoint/2010/main" val="346908588"/>
              </p:ext>
            </p:extLst>
          </p:nvPr>
        </p:nvGraphicFramePr>
        <p:xfrm>
          <a:off x="545838" y="956828"/>
          <a:ext cx="11191045"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895494" y="606033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dirty="0">
                <a:cs typeface="Calibri"/>
              </a:rPr>
              <a:t>Visit ilpqc.org/ESSI to register for the calls!</a:t>
            </a:r>
            <a:endParaRPr lang="en-US" sz="3600" dirty="0"/>
          </a:p>
        </p:txBody>
      </p:sp>
      <p:sp>
        <p:nvSpPr>
          <p:cNvPr id="450" name="Star: 5 Points 449">
            <a:extLst>
              <a:ext uri="{FF2B5EF4-FFF2-40B4-BE49-F238E27FC236}">
                <a16:creationId xmlns:a16="http://schemas.microsoft.com/office/drawing/2014/main" id="{3FF9DEE6-802A-29EE-A6D0-AD98F6E08823}"/>
              </a:ext>
            </a:extLst>
          </p:cNvPr>
          <p:cNvSpPr/>
          <p:nvPr/>
        </p:nvSpPr>
        <p:spPr>
          <a:xfrm>
            <a:off x="-1528" y="1455616"/>
            <a:ext cx="1840301" cy="1322718"/>
          </a:xfrm>
          <a:prstGeom prst="star5">
            <a:avLst/>
          </a:prstGeom>
          <a:solidFill>
            <a:srgbClr val="FFFF00"/>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Calibri"/>
              <a:cs typeface="Calibri"/>
            </a:endParaRPr>
          </a:p>
        </p:txBody>
      </p:sp>
      <p:sp>
        <p:nvSpPr>
          <p:cNvPr id="451" name="TextBox 450">
            <a:extLst>
              <a:ext uri="{FF2B5EF4-FFF2-40B4-BE49-F238E27FC236}">
                <a16:creationId xmlns:a16="http://schemas.microsoft.com/office/drawing/2014/main" id="{3776096E-45C6-5BFE-2499-2A66E529005D}"/>
              </a:ext>
            </a:extLst>
          </p:cNvPr>
          <p:cNvSpPr txBox="1"/>
          <p:nvPr/>
        </p:nvSpPr>
        <p:spPr>
          <a:xfrm>
            <a:off x="-6560" y="1880108"/>
            <a:ext cx="1847220" cy="8002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ea typeface="Calibri"/>
                <a:cs typeface="Calibri"/>
              </a:rPr>
              <a:t>Watch </a:t>
            </a:r>
          </a:p>
          <a:p>
            <a:pPr algn="ctr"/>
            <a:r>
              <a:rPr lang="en-US" sz="1400" b="1" dirty="0">
                <a:ea typeface="Calibri"/>
                <a:cs typeface="Calibri"/>
              </a:rPr>
              <a:t>Recording</a:t>
            </a:r>
          </a:p>
          <a:p>
            <a:pPr algn="l"/>
            <a:endParaRPr lang="en-US" dirty="0">
              <a:ea typeface="Calibri"/>
              <a:cs typeface="Calibri"/>
            </a:endParaRPr>
          </a:p>
        </p:txBody>
      </p:sp>
    </p:spTree>
    <p:extLst>
      <p:ext uri="{BB962C8B-B14F-4D97-AF65-F5344CB8AC3E}">
        <p14:creationId xmlns:p14="http://schemas.microsoft.com/office/powerpoint/2010/main" val="11418153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Freeform: Shape 2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5" name="Freeform: Shape 2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r>
              <a:rPr lang="en-US" sz="4000"/>
              <a:t>ESSI 2024 Plan: Jan-June</a:t>
            </a:r>
          </a:p>
        </p:txBody>
      </p:sp>
      <p:sp>
        <p:nvSpPr>
          <p:cNvPr id="27" name="Rectangle 2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36</a:t>
            </a:fld>
            <a:endParaRPr lang="en-US">
              <a:solidFill>
                <a:schemeClr val="tx1">
                  <a:lumMod val="50000"/>
                  <a:lumOff val="50000"/>
                </a:schemeClr>
              </a:solidFill>
            </a:endParaRPr>
          </a:p>
        </p:txBody>
      </p:sp>
      <p:graphicFrame>
        <p:nvGraphicFramePr>
          <p:cNvPr id="17" name="Content Placeholder 2">
            <a:extLst>
              <a:ext uri="{FF2B5EF4-FFF2-40B4-BE49-F238E27FC236}">
                <a16:creationId xmlns:a16="http://schemas.microsoft.com/office/drawing/2014/main" id="{9B647FFD-DB92-0E72-0606-A89EC41A7F93}"/>
              </a:ext>
            </a:extLst>
          </p:cNvPr>
          <p:cNvGraphicFramePr/>
          <p:nvPr>
            <p:extLst>
              <p:ext uri="{D42A27DB-BD31-4B8C-83A1-F6EECF244321}">
                <p14:modId xmlns:p14="http://schemas.microsoft.com/office/powerpoint/2010/main" val="2350257911"/>
              </p:ext>
            </p:extLst>
          </p:nvPr>
        </p:nvGraphicFramePr>
        <p:xfrm>
          <a:off x="4713239" y="676656"/>
          <a:ext cx="7351603"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33229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CC4529-5171-41EF-E242-F4836E180A4C}"/>
              </a:ext>
            </a:extLst>
          </p:cNvPr>
          <p:cNvSpPr>
            <a:spLocks noGrp="1"/>
          </p:cNvSpPr>
          <p:nvPr>
            <p:ph type="title"/>
          </p:nvPr>
        </p:nvSpPr>
        <p:spPr>
          <a:xfrm>
            <a:off x="504967" y="675564"/>
            <a:ext cx="3609833" cy="5204085"/>
          </a:xfrm>
        </p:spPr>
        <p:txBody>
          <a:bodyPr>
            <a:normAutofit/>
          </a:bodyPr>
          <a:lstStyle/>
          <a:p>
            <a:r>
              <a:rPr lang="en-US" dirty="0">
                <a:ea typeface="Lato Medium"/>
                <a:cs typeface="Lato Medium"/>
              </a:rPr>
              <a:t>What should my ESSI team be working on now?</a:t>
            </a:r>
            <a:endParaRPr lang="en-US" dirty="0"/>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7FB3513-4113-97AC-358F-AD6038A13085}"/>
              </a:ext>
            </a:extLst>
          </p:cNvPr>
          <p:cNvSpPr>
            <a:spLocks noGrp="1"/>
          </p:cNvSpPr>
          <p:nvPr>
            <p:ph type="sldNum" sz="quarter" idx="10"/>
          </p:nvPr>
        </p:nvSpPr>
        <p:spPr>
          <a:xfrm>
            <a:off x="11380641" y="0"/>
            <a:ext cx="811359" cy="704762"/>
          </a:xfrm>
        </p:spPr>
        <p:txBody>
          <a:bodyPr>
            <a:normAutofit/>
          </a:bodyPr>
          <a:lstStyle/>
          <a:p>
            <a:pPr algn="ctr">
              <a:spcAft>
                <a:spcPts val="600"/>
              </a:spcAft>
            </a:pPr>
            <a:fld id="{97033E4B-E3EB-3D46-B2D8-3159663620FA}" type="slidenum">
              <a:rPr lang="en-US" smtClean="0"/>
              <a:pPr algn="ctr">
                <a:spcAft>
                  <a:spcPts val="600"/>
                </a:spcAft>
              </a:pPr>
              <a:t>37</a:t>
            </a:fld>
            <a:endParaRPr lang="en-US"/>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100B16C8-06BE-BEDF-FCE3-9542B0274043}"/>
              </a:ext>
            </a:extLst>
          </p:cNvPr>
          <p:cNvSpPr>
            <a:spLocks noGrp="1"/>
          </p:cNvSpPr>
          <p:nvPr>
            <p:ph type="ftr" sz="quarter" idx="11"/>
          </p:nvPr>
        </p:nvSpPr>
        <p:spPr>
          <a:xfrm>
            <a:off x="6828293" y="6134382"/>
            <a:ext cx="4114800" cy="723618"/>
          </a:xfrm>
        </p:spPr>
        <p:txBody>
          <a:bodyPr>
            <a:normAutofit/>
          </a:bodyPr>
          <a:lstStyle/>
          <a:p>
            <a:pPr algn="r">
              <a:spcAft>
                <a:spcPts val="600"/>
              </a:spcAft>
            </a:pPr>
            <a:r>
              <a:rPr lang="en-US"/>
              <a:t>Illinois Perinatal Quality Collaborative</a:t>
            </a:r>
          </a:p>
        </p:txBody>
      </p:sp>
      <p:graphicFrame>
        <p:nvGraphicFramePr>
          <p:cNvPr id="7" name="Content Placeholder 2">
            <a:extLst>
              <a:ext uri="{FF2B5EF4-FFF2-40B4-BE49-F238E27FC236}">
                <a16:creationId xmlns:a16="http://schemas.microsoft.com/office/drawing/2014/main" id="{7A2359A2-13A0-13F8-9703-E546D92B0B98}"/>
              </a:ext>
            </a:extLst>
          </p:cNvPr>
          <p:cNvGraphicFramePr>
            <a:graphicFrameLocks noGrp="1"/>
          </p:cNvGraphicFramePr>
          <p:nvPr>
            <p:ph idx="1"/>
            <p:extLst>
              <p:ext uri="{D42A27DB-BD31-4B8C-83A1-F6EECF244321}">
                <p14:modId xmlns:p14="http://schemas.microsoft.com/office/powerpoint/2010/main" val="1988747647"/>
              </p:ext>
            </p:extLst>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10191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590FE6-A718-DB35-8361-76567E797D89}"/>
              </a:ext>
            </a:extLst>
          </p:cNvPr>
          <p:cNvSpPr>
            <a:spLocks noGrp="1"/>
          </p:cNvSpPr>
          <p:nvPr>
            <p:ph type="title"/>
          </p:nvPr>
        </p:nvSpPr>
        <p:spPr>
          <a:xfrm>
            <a:off x="1075767" y="1188637"/>
            <a:ext cx="2988234" cy="4480726"/>
          </a:xfrm>
        </p:spPr>
        <p:txBody>
          <a:bodyPr>
            <a:normAutofit/>
          </a:bodyPr>
          <a:lstStyle/>
          <a:p>
            <a:pPr algn="r"/>
            <a:r>
              <a:rPr lang="en-US" sz="5600">
                <a:ea typeface="Lato Medium"/>
                <a:cs typeface="Lato Medium"/>
              </a:rPr>
              <a:t>Feedback on the Data System</a:t>
            </a:r>
            <a:endParaRPr lang="en-US" sz="5600"/>
          </a:p>
        </p:txBody>
      </p:sp>
      <p:sp>
        <p:nvSpPr>
          <p:cNvPr id="5" name="Footer Placeholder 4">
            <a:extLst>
              <a:ext uri="{FF2B5EF4-FFF2-40B4-BE49-F238E27FC236}">
                <a16:creationId xmlns:a16="http://schemas.microsoft.com/office/drawing/2014/main" id="{4AD61EFC-3FF8-389F-9E2C-A095A14A17AC}"/>
              </a:ext>
            </a:extLst>
          </p:cNvPr>
          <p:cNvSpPr>
            <a:spLocks noGrp="1"/>
          </p:cNvSpPr>
          <p:nvPr>
            <p:ph type="ftr" sz="quarter" idx="11"/>
          </p:nvPr>
        </p:nvSpPr>
        <p:spPr>
          <a:xfrm rot="5400000">
            <a:off x="-2374833" y="3246436"/>
            <a:ext cx="5607882" cy="365125"/>
          </a:xfrm>
        </p:spPr>
        <p:txBody>
          <a:bodyPr anchor="t">
            <a:normAutofit/>
          </a:bodyPr>
          <a:lstStyle/>
          <a:p>
            <a:pPr algn="l">
              <a:spcAft>
                <a:spcPts val="600"/>
              </a:spcAft>
            </a:pPr>
            <a:r>
              <a:rPr lang="en-US" sz="1150">
                <a:solidFill>
                  <a:schemeClr val="tx1">
                    <a:lumMod val="85000"/>
                    <a:lumOff val="15000"/>
                  </a:schemeClr>
                </a:solidFill>
              </a:rPr>
              <a:t>Illinois Perinatal Quality Collaborative</a:t>
            </a:r>
          </a:p>
        </p:txBody>
      </p:sp>
      <p:cxnSp>
        <p:nvCxnSpPr>
          <p:cNvPr id="16" name="Straight Connector 15">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6D5E36C-F04A-48A8-F17B-86E39E55C21E}"/>
              </a:ext>
            </a:extLst>
          </p:cNvPr>
          <p:cNvSpPr>
            <a:spLocks noGrp="1"/>
          </p:cNvSpPr>
          <p:nvPr>
            <p:ph idx="1"/>
          </p:nvPr>
        </p:nvSpPr>
        <p:spPr>
          <a:xfrm>
            <a:off x="5255260" y="1648870"/>
            <a:ext cx="4702848" cy="3560260"/>
          </a:xfrm>
        </p:spPr>
        <p:txBody>
          <a:bodyPr vert="horz" lIns="91440" tIns="45720" rIns="91440" bIns="45720" rtlCol="0" anchor="ctr">
            <a:normAutofit/>
          </a:bodyPr>
          <a:lstStyle/>
          <a:p>
            <a:r>
              <a:rPr lang="en-US" dirty="0">
                <a:ea typeface="Lato"/>
                <a:cs typeface="Lato"/>
              </a:rPr>
              <a:t>If you have been a part of ILPQC initiatives, share your feedback on the data system and how it can be improved</a:t>
            </a:r>
            <a:endParaRPr lang="en-US" dirty="0"/>
          </a:p>
        </p:txBody>
      </p:sp>
    </p:spTree>
    <p:extLst>
      <p:ext uri="{BB962C8B-B14F-4D97-AF65-F5344CB8AC3E}">
        <p14:creationId xmlns:p14="http://schemas.microsoft.com/office/powerpoint/2010/main" val="34624123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Question mark on green pastel background">
            <a:extLst>
              <a:ext uri="{FF2B5EF4-FFF2-40B4-BE49-F238E27FC236}">
                <a16:creationId xmlns:a16="http://schemas.microsoft.com/office/drawing/2014/main" id="{3A359654-A2A5-BB69-5A24-18BCC5C338AC}"/>
              </a:ext>
            </a:extLst>
          </p:cNvPr>
          <p:cNvPicPr>
            <a:picLocks noChangeAspect="1"/>
          </p:cNvPicPr>
          <p:nvPr/>
        </p:nvPicPr>
        <p:blipFill rotWithShape="1">
          <a:blip r:embed="rId2">
            <a:extLst>
              <a:ext uri="{28A0092B-C50C-407E-A947-70E740481C1C}">
                <a14:useLocalDpi xmlns:a14="http://schemas.microsoft.com/office/drawing/2010/main"/>
              </a:ext>
            </a:extLst>
          </a:blip>
          <a:srcRect r="-8"/>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A8D5212-512B-94C8-CCF1-6B6881A37D96}"/>
              </a:ext>
            </a:extLst>
          </p:cNvPr>
          <p:cNvSpPr>
            <a:spLocks noGrp="1"/>
          </p:cNvSpPr>
          <p:nvPr>
            <p:ph type="title"/>
          </p:nvPr>
        </p:nvSpPr>
        <p:spPr>
          <a:xfrm>
            <a:off x="770255" y="1404199"/>
            <a:ext cx="6079716" cy="3204134"/>
          </a:xfrm>
        </p:spPr>
        <p:txBody>
          <a:bodyPr vert="horz" lIns="91440" tIns="45720" rIns="91440" bIns="45720" rtlCol="0" anchor="b">
            <a:normAutofit/>
          </a:bodyPr>
          <a:lstStyle/>
          <a:p>
            <a:pPr algn="ctr">
              <a:lnSpc>
                <a:spcPct val="90000"/>
              </a:lnSpc>
            </a:pPr>
            <a:r>
              <a:rPr lang="en-US" sz="6600" dirty="0">
                <a:solidFill>
                  <a:schemeClr val="bg1"/>
                </a:solidFill>
                <a:ea typeface="+mj-ea"/>
                <a:cs typeface="+mj-cs"/>
              </a:rPr>
              <a:t>Q&amp;A</a:t>
            </a:r>
            <a:br>
              <a:rPr lang="en-US" sz="4800" dirty="0">
                <a:solidFill>
                  <a:schemeClr val="bg1"/>
                </a:solidFill>
                <a:ea typeface="+mj-ea"/>
                <a:cs typeface="Calibri"/>
              </a:rPr>
            </a:br>
            <a:br>
              <a:rPr lang="en-US" sz="4800" dirty="0">
                <a:solidFill>
                  <a:schemeClr val="bg1"/>
                </a:solidFill>
                <a:ea typeface="+mj-ea"/>
                <a:cs typeface="Calibri"/>
              </a:rPr>
            </a:br>
            <a:r>
              <a:rPr lang="en-US" sz="4000" dirty="0">
                <a:solidFill>
                  <a:schemeClr val="bg1"/>
                </a:solidFill>
                <a:ea typeface="+mj-ea"/>
                <a:cs typeface="Calibri"/>
              </a:rPr>
              <a:t>Come off mute or put your questions in the chat!</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979332-6D70-E77E-398C-79FEE378C255}"/>
              </a:ext>
            </a:extLst>
          </p:cNvPr>
          <p:cNvSpPr>
            <a:spLocks noGrp="1"/>
          </p:cNvSpPr>
          <p:nvPr>
            <p:ph type="ftr" sz="quarter" idx="11"/>
          </p:nvPr>
        </p:nvSpPr>
        <p:spPr>
          <a:xfrm>
            <a:off x="1692321" y="6356350"/>
            <a:ext cx="2809017" cy="365125"/>
          </a:xfrm>
        </p:spPr>
        <p:txBody>
          <a:bodyPr vert="horz" lIns="91440" tIns="45720" rIns="91440" bIns="45720" rtlCol="0" anchor="ctr">
            <a:normAutofit/>
          </a:bodyPr>
          <a:lstStyle/>
          <a:p>
            <a:pPr algn="r">
              <a:spcAft>
                <a:spcPts val="600"/>
              </a:spcAft>
              <a:defRPr/>
            </a:pPr>
            <a:r>
              <a:rPr lang="en-US" kern="1200">
                <a:solidFill>
                  <a:schemeClr val="bg1"/>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8DB75264-273F-4605-2A91-81ECE1A7E3C2}"/>
              </a:ext>
            </a:extLst>
          </p:cNvPr>
          <p:cNvSpPr>
            <a:spLocks noGrp="1"/>
          </p:cNvSpPr>
          <p:nvPr>
            <p:ph type="sldNum" sz="quarter" idx="10"/>
          </p:nvPr>
        </p:nvSpPr>
        <p:spPr>
          <a:xfrm>
            <a:off x="8970819"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chemeClr val="bg1"/>
                </a:solidFill>
                <a:latin typeface="Calibri" panose="020F0502020204030204"/>
              </a:rPr>
              <a:pPr>
                <a:spcAft>
                  <a:spcPts val="600"/>
                </a:spcAft>
                <a:defRPr/>
              </a:pPr>
              <a:t>39</a:t>
            </a:fld>
            <a:endParaRPr lang="en-US">
              <a:solidFill>
                <a:schemeClr val="bg1"/>
              </a:solidFill>
              <a:latin typeface="Calibri" panose="020F0502020204030204"/>
            </a:endParaRPr>
          </a:p>
        </p:txBody>
      </p:sp>
    </p:spTree>
    <p:extLst>
      <p:ext uri="{BB962C8B-B14F-4D97-AF65-F5344CB8AC3E}">
        <p14:creationId xmlns:p14="http://schemas.microsoft.com/office/powerpoint/2010/main" val="1123896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a:xfrm>
            <a:off x="1398933" y="831145"/>
            <a:ext cx="9365380" cy="2014679"/>
          </a:xfrm>
        </p:spPr>
        <p:txBody>
          <a:bodyPr/>
          <a:lstStyle/>
          <a:p>
            <a:r>
              <a:rPr lang="en-US" dirty="0">
                <a:solidFill>
                  <a:srgbClr val="1C498B"/>
                </a:solidFill>
                <a:ea typeface="Calibri"/>
                <a:cs typeface="Calibri"/>
              </a:rPr>
              <a:t>ILPQC Data System (</a:t>
            </a:r>
            <a:r>
              <a:rPr lang="en-US" dirty="0" err="1">
                <a:solidFill>
                  <a:srgbClr val="1C498B"/>
                </a:solidFill>
                <a:ea typeface="Calibri"/>
                <a:cs typeface="Calibri"/>
              </a:rPr>
              <a:t>REDCap</a:t>
            </a:r>
            <a:r>
              <a:rPr lang="en-US" dirty="0">
                <a:solidFill>
                  <a:srgbClr val="1C498B"/>
                </a:solidFill>
                <a:ea typeface="Calibri"/>
                <a:cs typeface="Calibri"/>
              </a:rPr>
              <a:t>)</a:t>
            </a:r>
            <a:endParaRPr lang="en-US" dirty="0"/>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p:txBody>
          <a:bodyPr vert="horz" lIns="91440" tIns="45720" rIns="91440" bIns="45720" rtlCol="0" anchor="t">
            <a:noAutofit/>
          </a:bodyPr>
          <a:lstStyle/>
          <a:p>
            <a:endParaRPr lang="en-US" dirty="0"/>
          </a:p>
        </p:txBody>
      </p:sp>
      <p:sp>
        <p:nvSpPr>
          <p:cNvPr id="4" name="TextBox 3">
            <a:extLst>
              <a:ext uri="{FF2B5EF4-FFF2-40B4-BE49-F238E27FC236}">
                <a16:creationId xmlns:a16="http://schemas.microsoft.com/office/drawing/2014/main" id="{91340450-CC8B-5BE3-0AD9-268F626BA220}"/>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31398743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a:solidFill>
                <a:schemeClr val="accent1"/>
              </a:solidFill>
            </a:endParaRPr>
          </a:p>
          <a:p>
            <a:pPr marL="0" indent="0">
              <a:buNone/>
            </a:pPr>
            <a:endParaRPr lang="en-US"/>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a:solidFill>
                  <a:schemeClr val="tx1">
                    <a:lumMod val="75000"/>
                    <a:lumOff val="25000"/>
                  </a:schemeClr>
                </a:solidFill>
              </a:rPr>
              <a:pPr>
                <a:spcAft>
                  <a:spcPts val="600"/>
                </a:spcAft>
              </a:pPr>
              <a:t>40</a:t>
            </a:fld>
            <a:endParaRPr lang="en-US">
              <a:solidFill>
                <a:schemeClr val="tx1">
                  <a:lumMod val="75000"/>
                  <a:lumOff val="25000"/>
                </a:schemeClr>
              </a:solidFill>
            </a:endParaRPr>
          </a:p>
        </p:txBody>
      </p:sp>
    </p:spTree>
    <p:extLst>
      <p:ext uri="{BB962C8B-B14F-4D97-AF65-F5344CB8AC3E}">
        <p14:creationId xmlns:p14="http://schemas.microsoft.com/office/powerpoint/2010/main" val="2086939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7" name="Rectangle 16">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Rectangle 20">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43631" y="809898"/>
            <a:ext cx="10173010" cy="1554480"/>
          </a:xfrm>
        </p:spPr>
        <p:txBody>
          <a:bodyPr anchor="ctr">
            <a:normAutofit/>
          </a:bodyPr>
          <a:lstStyle/>
          <a:p>
            <a:r>
              <a:rPr lang="en-US" sz="4800" dirty="0">
                <a:ea typeface="Calibri"/>
                <a:cs typeface="Calibri"/>
              </a:rPr>
              <a:t>ILPQC Pillars Support QI Success</a:t>
            </a:r>
          </a:p>
        </p:txBody>
      </p:sp>
      <p:cxnSp>
        <p:nvCxnSpPr>
          <p:cNvPr id="23" name="Straight Connector 22">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p:cNvSpPr>
          <p:nvPr/>
        </p:nvSpPr>
        <p:spPr>
          <a:xfrm>
            <a:off x="7770980" y="6004188"/>
            <a:ext cx="1677158" cy="223233"/>
          </a:xfrm>
          <a:prstGeom prst="rect">
            <a:avLst/>
          </a:prstGeom>
        </p:spPr>
        <p:txBody>
          <a:bodyPr/>
          <a:lstStyle/>
          <a:p>
            <a:pPr defTabSz="557784">
              <a:spcAft>
                <a:spcPts val="600"/>
              </a:spcAft>
            </a:pPr>
            <a:fld id="{97033E4B-E3EB-3D46-B2D8-3159663620FA}" type="slidenum">
              <a:rPr lang="en-US" sz="1098" kern="1200" dirty="0">
                <a:solidFill>
                  <a:schemeClr val="tx1"/>
                </a:solidFill>
                <a:latin typeface="+mn-lt"/>
                <a:ea typeface="+mn-ea"/>
                <a:cs typeface="+mn-cs"/>
              </a:rPr>
              <a:pPr defTabSz="557784">
                <a:spcAft>
                  <a:spcPts val="600"/>
                </a:spcAft>
              </a:pPr>
              <a:t>5</a:t>
            </a:fld>
            <a:endParaRPr lang="en-US"/>
          </a:p>
        </p:txBody>
      </p:sp>
      <p:sp>
        <p:nvSpPr>
          <p:cNvPr id="5" name="Footer Placeholder 4"/>
          <p:cNvSpPr>
            <a:spLocks/>
          </p:cNvSpPr>
          <p:nvPr/>
        </p:nvSpPr>
        <p:spPr>
          <a:xfrm>
            <a:off x="2739505" y="6004188"/>
            <a:ext cx="2515737" cy="223233"/>
          </a:xfrm>
          <a:prstGeom prst="rect">
            <a:avLst/>
          </a:prstGeom>
        </p:spPr>
        <p:txBody>
          <a:bodyPr/>
          <a:lstStyle/>
          <a:p>
            <a:pPr defTabSz="557784">
              <a:spcAft>
                <a:spcPts val="600"/>
              </a:spcAft>
            </a:pPr>
            <a:r>
              <a:rPr lang="en-US" sz="1098" kern="1200">
                <a:solidFill>
                  <a:schemeClr val="tx1"/>
                </a:solidFill>
                <a:latin typeface="+mn-lt"/>
                <a:ea typeface="+mn-ea"/>
                <a:cs typeface="+mn-cs"/>
              </a:rPr>
              <a:t>Illinois Perinatal Quality Collaborative</a:t>
            </a:r>
            <a:endParaRPr lang="en-US"/>
          </a:p>
        </p:txBody>
      </p:sp>
      <p:pic>
        <p:nvPicPr>
          <p:cNvPr id="8" name="Content Placeholder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68092" y="2514311"/>
            <a:ext cx="5843265" cy="3892627"/>
          </a:xfrm>
          <a:prstGeom prst="rect">
            <a:avLst/>
          </a:prstGeom>
        </p:spPr>
      </p:pic>
      <p:sp>
        <p:nvSpPr>
          <p:cNvPr id="9" name="TextBox 8"/>
          <p:cNvSpPr txBox="1"/>
          <p:nvPr/>
        </p:nvSpPr>
        <p:spPr>
          <a:xfrm>
            <a:off x="3746412" y="6003643"/>
            <a:ext cx="4038413" cy="261610"/>
          </a:xfrm>
          <a:prstGeom prst="rect">
            <a:avLst/>
          </a:prstGeom>
          <a:noFill/>
        </p:spPr>
        <p:txBody>
          <a:bodyPr wrap="square" lIns="91440" tIns="45720" rIns="91440" bIns="45720" rtlCol="0" anchor="t">
            <a:spAutoFit/>
          </a:bodyPr>
          <a:lstStyle/>
          <a:p>
            <a:pPr algn="ctr" defTabSz="557784">
              <a:spcAft>
                <a:spcPts val="600"/>
              </a:spcAft>
            </a:pPr>
            <a:r>
              <a:rPr lang="en-US" sz="1100" kern="1200" dirty="0">
                <a:solidFill>
                  <a:schemeClr val="bg1"/>
                </a:solidFill>
                <a:latin typeface="+mn-lt"/>
                <a:ea typeface="+mn-lt"/>
                <a:cs typeface="+mn-lt"/>
              </a:rPr>
              <a:t>Hospital Teams, Community Stakeholders, Patients/Families</a:t>
            </a:r>
            <a:endParaRPr lang="en-US" sz="1100">
              <a:solidFill>
                <a:schemeClr val="bg1"/>
              </a:solidFill>
              <a:ea typeface="+mn-lt"/>
              <a:cs typeface="+mn-lt"/>
            </a:endParaRPr>
          </a:p>
        </p:txBody>
      </p:sp>
      <p:sp>
        <p:nvSpPr>
          <p:cNvPr id="3" name="Oval 2">
            <a:extLst>
              <a:ext uri="{FF2B5EF4-FFF2-40B4-BE49-F238E27FC236}">
                <a16:creationId xmlns:a16="http://schemas.microsoft.com/office/drawing/2014/main" id="{C3F851F6-772C-CCD7-F5C3-F84D7C2CE2C9}"/>
              </a:ext>
            </a:extLst>
          </p:cNvPr>
          <p:cNvSpPr/>
          <p:nvPr/>
        </p:nvSpPr>
        <p:spPr>
          <a:xfrm>
            <a:off x="5302720" y="4160207"/>
            <a:ext cx="974815" cy="1637348"/>
          </a:xfrm>
          <a:prstGeom prst="ellipse">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369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38A15-F437-68D4-81DF-DBC477C993DE}"/>
              </a:ext>
            </a:extLst>
          </p:cNvPr>
          <p:cNvSpPr>
            <a:spLocks noGrp="1"/>
          </p:cNvSpPr>
          <p:nvPr>
            <p:ph type="title"/>
          </p:nvPr>
        </p:nvSpPr>
        <p:spPr/>
        <p:txBody>
          <a:bodyPr/>
          <a:lstStyle/>
          <a:p>
            <a:r>
              <a:rPr lang="en-US" dirty="0">
                <a:ea typeface="Lato Medium"/>
                <a:cs typeface="Lato Medium"/>
              </a:rPr>
              <a:t>Data is Yours!</a:t>
            </a:r>
          </a:p>
        </p:txBody>
      </p:sp>
      <p:sp>
        <p:nvSpPr>
          <p:cNvPr id="3" name="Content Placeholder 2">
            <a:extLst>
              <a:ext uri="{FF2B5EF4-FFF2-40B4-BE49-F238E27FC236}">
                <a16:creationId xmlns:a16="http://schemas.microsoft.com/office/drawing/2014/main" id="{8DE65E7E-52D5-824B-D062-E5E6FF08565D}"/>
              </a:ext>
            </a:extLst>
          </p:cNvPr>
          <p:cNvSpPr>
            <a:spLocks noGrp="1"/>
          </p:cNvSpPr>
          <p:nvPr>
            <p:ph idx="1"/>
          </p:nvPr>
        </p:nvSpPr>
        <p:spPr/>
        <p:txBody>
          <a:bodyPr vert="horz" lIns="91440" tIns="45720" rIns="91440" bIns="45720" rtlCol="0" anchor="t">
            <a:noAutofit/>
          </a:bodyPr>
          <a:lstStyle/>
          <a:p>
            <a:r>
              <a:rPr lang="en-US" dirty="0">
                <a:ea typeface="Lato"/>
                <a:cs typeface="Lato"/>
              </a:rPr>
              <a:t>ILPQC manages the rapid-response data sytem (REDCap), but data collection and reporting is </a:t>
            </a:r>
            <a:r>
              <a:rPr lang="en-US" b="1" dirty="0">
                <a:ea typeface="Lato"/>
                <a:cs typeface="Lato"/>
              </a:rPr>
              <a:t>designed for your hospital team</a:t>
            </a:r>
            <a:r>
              <a:rPr lang="en-US" dirty="0">
                <a:ea typeface="Lato"/>
                <a:cs typeface="Lato"/>
              </a:rPr>
              <a:t> </a:t>
            </a:r>
          </a:p>
          <a:p>
            <a:r>
              <a:rPr lang="en-US" dirty="0">
                <a:ea typeface="Lato"/>
                <a:cs typeface="Lato"/>
              </a:rPr>
              <a:t>Share success with others at your hospital </a:t>
            </a:r>
          </a:p>
          <a:p>
            <a:r>
              <a:rPr lang="en-US" dirty="0">
                <a:ea typeface="Lato"/>
                <a:cs typeface="Lato"/>
              </a:rPr>
              <a:t>Review areas that you still need to work on and use data to compel others on your team to work for change </a:t>
            </a:r>
          </a:p>
          <a:p>
            <a:r>
              <a:rPr lang="en-US" dirty="0">
                <a:ea typeface="Lato"/>
                <a:cs typeface="Lato"/>
              </a:rPr>
              <a:t>Compare your hospital progress over time with aggregate data of all ILPQC BASIC teams</a:t>
            </a:r>
          </a:p>
        </p:txBody>
      </p:sp>
      <p:sp>
        <p:nvSpPr>
          <p:cNvPr id="4" name="Slide Number Placeholder 3">
            <a:extLst>
              <a:ext uri="{FF2B5EF4-FFF2-40B4-BE49-F238E27FC236}">
                <a16:creationId xmlns:a16="http://schemas.microsoft.com/office/drawing/2014/main" id="{17FF030B-1C94-7921-8661-4F6318266C73}"/>
              </a:ext>
            </a:extLst>
          </p:cNvPr>
          <p:cNvSpPr>
            <a:spLocks noGrp="1"/>
          </p:cNvSpPr>
          <p:nvPr>
            <p:ph type="sldNum" sz="quarter" idx="10"/>
          </p:nvPr>
        </p:nvSpPr>
        <p:spPr/>
        <p:txBody>
          <a:bodyPr/>
          <a:lstStyle/>
          <a:p>
            <a:fld id="{97033E4B-E3EB-3D46-B2D8-3159663620FA}" type="slidenum">
              <a:rPr lang="en-US" smtClean="0"/>
              <a:pPr/>
              <a:t>6</a:t>
            </a:fld>
            <a:endParaRPr lang="en-US"/>
          </a:p>
        </p:txBody>
      </p:sp>
      <p:sp>
        <p:nvSpPr>
          <p:cNvPr id="5" name="Footer Placeholder 4">
            <a:extLst>
              <a:ext uri="{FF2B5EF4-FFF2-40B4-BE49-F238E27FC236}">
                <a16:creationId xmlns:a16="http://schemas.microsoft.com/office/drawing/2014/main" id="{4DA1E598-51BD-52DE-DD20-7A3CD0D9252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70430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51FD3-B619-698D-38DF-D5D943692C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A2557B-6AAE-995B-7224-F5877C99C9E2}"/>
              </a:ext>
            </a:extLst>
          </p:cNvPr>
          <p:cNvSpPr>
            <a:spLocks noGrp="1"/>
          </p:cNvSpPr>
          <p:nvPr>
            <p:ph type="title"/>
          </p:nvPr>
        </p:nvSpPr>
        <p:spPr>
          <a:xfrm>
            <a:off x="1398933" y="831145"/>
            <a:ext cx="9365380" cy="2014679"/>
          </a:xfrm>
        </p:spPr>
        <p:txBody>
          <a:bodyPr/>
          <a:lstStyle/>
          <a:p>
            <a:r>
              <a:rPr lang="en-US" dirty="0">
                <a:solidFill>
                  <a:srgbClr val="1C498B"/>
                </a:solidFill>
                <a:ea typeface="+mj-lt"/>
                <a:cs typeface="+mj-lt"/>
              </a:rPr>
              <a:t>Accessing </a:t>
            </a:r>
            <a:r>
              <a:rPr lang="en-US" dirty="0" err="1">
                <a:solidFill>
                  <a:srgbClr val="1C498B"/>
                </a:solidFill>
                <a:ea typeface="+mj-lt"/>
                <a:cs typeface="+mj-lt"/>
              </a:rPr>
              <a:t>REDcap</a:t>
            </a:r>
            <a:endParaRPr lang="en-US" dirty="0" err="1">
              <a:ea typeface="Calibri"/>
              <a:cs typeface="Calibri"/>
            </a:endParaRPr>
          </a:p>
        </p:txBody>
      </p:sp>
      <p:sp>
        <p:nvSpPr>
          <p:cNvPr id="3" name="Subtitle 2">
            <a:extLst>
              <a:ext uri="{FF2B5EF4-FFF2-40B4-BE49-F238E27FC236}">
                <a16:creationId xmlns:a16="http://schemas.microsoft.com/office/drawing/2014/main" id="{BB918C27-437D-E627-BFB7-D73A50715B68}"/>
              </a:ext>
            </a:extLst>
          </p:cNvPr>
          <p:cNvSpPr>
            <a:spLocks noGrp="1"/>
          </p:cNvSpPr>
          <p:nvPr>
            <p:ph type="subTitle" idx="1"/>
          </p:nvPr>
        </p:nvSpPr>
        <p:spPr/>
        <p:txBody>
          <a:bodyPr vert="horz" lIns="91440" tIns="45720" rIns="91440" bIns="45720" rtlCol="0" anchor="t">
            <a:noAutofit/>
          </a:bodyPr>
          <a:lstStyle/>
          <a:p>
            <a:endParaRPr lang="en-US" dirty="0"/>
          </a:p>
        </p:txBody>
      </p:sp>
      <p:sp>
        <p:nvSpPr>
          <p:cNvPr id="4" name="TextBox 3">
            <a:extLst>
              <a:ext uri="{FF2B5EF4-FFF2-40B4-BE49-F238E27FC236}">
                <a16:creationId xmlns:a16="http://schemas.microsoft.com/office/drawing/2014/main" id="{2E8E346B-ED9A-6E38-4AE5-86DE31C16F83}"/>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25253210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159DB-6549-CDBE-94A4-9560F62347FA}"/>
              </a:ext>
            </a:extLst>
          </p:cNvPr>
          <p:cNvSpPr>
            <a:spLocks noGrp="1"/>
          </p:cNvSpPr>
          <p:nvPr>
            <p:ph type="title"/>
          </p:nvPr>
        </p:nvSpPr>
        <p:spPr>
          <a:xfrm>
            <a:off x="582571" y="124086"/>
            <a:ext cx="4368602" cy="1956841"/>
          </a:xfrm>
        </p:spPr>
        <p:txBody>
          <a:bodyPr anchor="b">
            <a:normAutofit/>
          </a:bodyPr>
          <a:lstStyle/>
          <a:p>
            <a:r>
              <a:rPr lang="en-US" sz="5400">
                <a:ea typeface="Lato Medium"/>
                <a:cs typeface="Lato Medium"/>
              </a:rPr>
              <a:t>REDcap Access</a:t>
            </a:r>
            <a:endParaRPr lang="en-US" sz="5400"/>
          </a:p>
        </p:txBody>
      </p:sp>
      <p:sp>
        <p:nvSpPr>
          <p:cNvPr id="3" name="Content Placeholder 2">
            <a:extLst>
              <a:ext uri="{FF2B5EF4-FFF2-40B4-BE49-F238E27FC236}">
                <a16:creationId xmlns:a16="http://schemas.microsoft.com/office/drawing/2014/main" id="{3846A8C3-E3A7-FFD9-66D0-794C657EE456}"/>
              </a:ext>
            </a:extLst>
          </p:cNvPr>
          <p:cNvSpPr>
            <a:spLocks noGrp="1"/>
          </p:cNvSpPr>
          <p:nvPr>
            <p:ph idx="1"/>
          </p:nvPr>
        </p:nvSpPr>
        <p:spPr>
          <a:xfrm>
            <a:off x="640080" y="2872899"/>
            <a:ext cx="4243589" cy="3320668"/>
          </a:xfrm>
        </p:spPr>
        <p:txBody>
          <a:bodyPr vert="horz" lIns="91440" tIns="45720" rIns="91440" bIns="45720" rtlCol="0" anchor="t">
            <a:noAutofit/>
          </a:bodyPr>
          <a:lstStyle/>
          <a:p>
            <a:r>
              <a:rPr lang="en-US" sz="2500" dirty="0" err="1">
                <a:ea typeface="+mn-lt"/>
                <a:cs typeface="+mn-lt"/>
              </a:rPr>
              <a:t>REDCap</a:t>
            </a:r>
            <a:r>
              <a:rPr lang="en-US" sz="2500" dirty="0">
                <a:ea typeface="+mn-lt"/>
                <a:cs typeface="+mn-lt"/>
              </a:rPr>
              <a:t> access will be granted by those identified when you submitted your ESSI team roster </a:t>
            </a:r>
          </a:p>
          <a:p>
            <a:r>
              <a:rPr lang="en-US" sz="2500" dirty="0">
                <a:ea typeface="+mn-lt"/>
                <a:cs typeface="+mn-lt"/>
              </a:rPr>
              <a:t>If you have edits to those who need access, please email </a:t>
            </a:r>
            <a:r>
              <a:rPr lang="en-US" sz="2500" dirty="0">
                <a:ea typeface="+mn-lt"/>
                <a:cs typeface="+mn-lt"/>
                <a:hlinkClick r:id="rId2"/>
              </a:rPr>
              <a:t>info@ilpqc.org</a:t>
            </a:r>
            <a:endParaRPr lang="en-US" sz="2500">
              <a:ea typeface="+mn-lt"/>
              <a:cs typeface="+mn-lt"/>
            </a:endParaRPr>
          </a:p>
          <a:p>
            <a:pPr marL="0" indent="0">
              <a:buNone/>
            </a:pPr>
            <a:endParaRPr lang="en-US" sz="2500" dirty="0">
              <a:ea typeface="Lato"/>
              <a:cs typeface="Lato"/>
            </a:endParaRPr>
          </a:p>
        </p:txBody>
      </p:sp>
      <p:pic>
        <p:nvPicPr>
          <p:cNvPr id="6" name="Picture 5" descr="Close-up of woman's hands typing and using a trackpad on a laptop with mug">
            <a:extLst>
              <a:ext uri="{FF2B5EF4-FFF2-40B4-BE49-F238E27FC236}">
                <a16:creationId xmlns:a16="http://schemas.microsoft.com/office/drawing/2014/main" id="{E980A6D2-0325-7DA8-CD0A-30BC07B65A5C}"/>
              </a:ext>
            </a:extLst>
          </p:cNvPr>
          <p:cNvPicPr>
            <a:picLocks noChangeAspect="1"/>
          </p:cNvPicPr>
          <p:nvPr/>
        </p:nvPicPr>
        <p:blipFill rotWithShape="1">
          <a:blip r:embed="rId3">
            <a:extLst>
              <a:ext uri="{28A0092B-C50C-407E-A947-70E740481C1C}">
                <a14:useLocalDpi xmlns:a14="http://schemas.microsoft.com/office/drawing/2010/main"/>
              </a:ext>
            </a:extLst>
          </a:blip>
          <a:srcRect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EAB01E47-1A0D-ECD9-9045-C6DBA08AC91A}"/>
              </a:ext>
            </a:extLst>
          </p:cNvPr>
          <p:cNvSpPr>
            <a:spLocks noGrp="1"/>
          </p:cNvSpPr>
          <p:nvPr>
            <p:ph type="ftr" sz="quarter" idx="11"/>
          </p:nvPr>
        </p:nvSpPr>
        <p:spPr>
          <a:xfrm>
            <a:off x="6248400" y="6356350"/>
            <a:ext cx="4114800" cy="365125"/>
          </a:xfrm>
        </p:spPr>
        <p:txBody>
          <a:bodyPr>
            <a:normAutofit/>
          </a:bodyPr>
          <a:lstStyle/>
          <a:p>
            <a:pPr algn="l">
              <a:spcAft>
                <a:spcPts val="600"/>
              </a:spcAft>
            </a:pPr>
            <a:r>
              <a:rPr lang="en-US">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E7976E66-E5F5-49CD-B29C-E88DB1406A4F}"/>
              </a:ext>
            </a:extLst>
          </p:cNvPr>
          <p:cNvSpPr>
            <a:spLocks noGrp="1"/>
          </p:cNvSpPr>
          <p:nvPr>
            <p:ph type="sldNum" sz="quarter" idx="10"/>
          </p:nvPr>
        </p:nvSpPr>
        <p:spPr>
          <a:xfrm>
            <a:off x="10439400" y="6356350"/>
            <a:ext cx="914400" cy="365125"/>
          </a:xfrm>
        </p:spPr>
        <p:txBody>
          <a:bodyPr>
            <a:normAutofit/>
          </a:bodyPr>
          <a:lstStyle/>
          <a:p>
            <a:pPr>
              <a:spcAft>
                <a:spcPts val="600"/>
              </a:spcAft>
            </a:pPr>
            <a:fld id="{97033E4B-E3EB-3D46-B2D8-3159663620FA}" type="slidenum">
              <a:rPr lang="en-US">
                <a:solidFill>
                  <a:srgbClr val="FFFFFF"/>
                </a:solidFill>
              </a:rPr>
              <a:pPr>
                <a:spcAft>
                  <a:spcPts val="600"/>
                </a:spcAft>
              </a:pPr>
              <a:t>8</a:t>
            </a:fld>
            <a:endParaRPr lang="en-US">
              <a:solidFill>
                <a:srgbClr val="FFFFFF"/>
              </a:solidFill>
            </a:endParaRPr>
          </a:p>
        </p:txBody>
      </p:sp>
    </p:spTree>
    <p:extLst>
      <p:ext uri="{BB962C8B-B14F-4D97-AF65-F5344CB8AC3E}">
        <p14:creationId xmlns:p14="http://schemas.microsoft.com/office/powerpoint/2010/main" val="3026235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C7BFC-0CCC-3C1A-3FA3-98145A949055}"/>
              </a:ext>
            </a:extLst>
          </p:cNvPr>
          <p:cNvSpPr>
            <a:spLocks noGrp="1"/>
          </p:cNvSpPr>
          <p:nvPr>
            <p:ph type="title"/>
          </p:nvPr>
        </p:nvSpPr>
        <p:spPr/>
        <p:txBody>
          <a:bodyPr/>
          <a:lstStyle/>
          <a:p>
            <a:r>
              <a:rPr lang="en-US" dirty="0">
                <a:ea typeface="Lato Medium"/>
                <a:cs typeface="Lato Medium"/>
              </a:rPr>
              <a:t>Key Steps when Accessing </a:t>
            </a:r>
            <a:r>
              <a:rPr lang="en-US" dirty="0" err="1">
                <a:ea typeface="Lato Medium"/>
                <a:cs typeface="Lato Medium"/>
              </a:rPr>
              <a:t>REDcap</a:t>
            </a:r>
            <a:endParaRPr lang="en-US" dirty="0" err="1"/>
          </a:p>
        </p:txBody>
      </p:sp>
      <p:sp>
        <p:nvSpPr>
          <p:cNvPr id="3" name="Content Placeholder 2">
            <a:extLst>
              <a:ext uri="{FF2B5EF4-FFF2-40B4-BE49-F238E27FC236}">
                <a16:creationId xmlns:a16="http://schemas.microsoft.com/office/drawing/2014/main" id="{C20FF2E5-1A48-DE57-9A64-F917A931DCA8}"/>
              </a:ext>
            </a:extLst>
          </p:cNvPr>
          <p:cNvSpPr>
            <a:spLocks noGrp="1"/>
          </p:cNvSpPr>
          <p:nvPr>
            <p:ph idx="1"/>
          </p:nvPr>
        </p:nvSpPr>
        <p:spPr>
          <a:xfrm>
            <a:off x="595223" y="1552455"/>
            <a:ext cx="10972800" cy="4351338"/>
          </a:xfrm>
        </p:spPr>
        <p:txBody>
          <a:bodyPr vert="horz" lIns="91440" tIns="45720" rIns="91440" bIns="45720" rtlCol="0" anchor="t">
            <a:noAutofit/>
          </a:bodyPr>
          <a:lstStyle/>
          <a:p>
            <a:r>
              <a:rPr lang="en-US" dirty="0">
                <a:ea typeface="+mn-lt"/>
                <a:cs typeface="+mn-lt"/>
              </a:rPr>
              <a:t>Add </a:t>
            </a:r>
            <a:r>
              <a:rPr lang="en-US" dirty="0">
                <a:ea typeface="+mn-lt"/>
                <a:cs typeface="+mn-lt"/>
                <a:hlinkClick r:id="rId2"/>
              </a:rPr>
              <a:t>https://redcap.healthlnk.org</a:t>
            </a:r>
            <a:r>
              <a:rPr lang="en-US">
                <a:ea typeface="+mn-lt"/>
                <a:cs typeface="+mn-lt"/>
              </a:rPr>
              <a:t> to</a:t>
            </a:r>
            <a:r>
              <a:rPr lang="en-US" dirty="0">
                <a:ea typeface="+mn-lt"/>
                <a:cs typeface="+mn-lt"/>
              </a:rPr>
              <a:t> your bookmarks bar on your computer </a:t>
            </a:r>
            <a:endParaRPr lang="en-US" dirty="0"/>
          </a:p>
          <a:p>
            <a:r>
              <a:rPr lang="en-US" dirty="0">
                <a:ea typeface="+mn-lt"/>
                <a:cs typeface="+mn-lt"/>
              </a:rPr>
              <a:t>Use your username &amp; password to log in. Please email </a:t>
            </a:r>
            <a:r>
              <a:rPr lang="en-US" dirty="0">
                <a:ea typeface="+mn-lt"/>
                <a:cs typeface="+mn-lt"/>
                <a:hlinkClick r:id="rId3"/>
              </a:rPr>
              <a:t>redcap@healthlnk.org</a:t>
            </a:r>
            <a:r>
              <a:rPr lang="en-US" dirty="0">
                <a:ea typeface="+mn-lt"/>
                <a:cs typeface="+mn-lt"/>
              </a:rPr>
              <a:t> or </a:t>
            </a:r>
            <a:r>
              <a:rPr lang="en-US" dirty="0">
                <a:ea typeface="+mn-lt"/>
                <a:cs typeface="+mn-lt"/>
                <a:hlinkClick r:id="rId4"/>
              </a:rPr>
              <a:t>info@ilpqc.org</a:t>
            </a:r>
            <a:r>
              <a:rPr lang="en-US" dirty="0">
                <a:ea typeface="+mn-lt"/>
                <a:cs typeface="+mn-lt"/>
              </a:rPr>
              <a:t> if you have trouble logging in</a:t>
            </a:r>
            <a:endParaRPr lang="en-US" dirty="0"/>
          </a:p>
        </p:txBody>
      </p:sp>
      <p:sp>
        <p:nvSpPr>
          <p:cNvPr id="4" name="Slide Number Placeholder 3">
            <a:extLst>
              <a:ext uri="{FF2B5EF4-FFF2-40B4-BE49-F238E27FC236}">
                <a16:creationId xmlns:a16="http://schemas.microsoft.com/office/drawing/2014/main" id="{BE033C8B-1E41-C505-F657-EE8852D94223}"/>
              </a:ext>
            </a:extLst>
          </p:cNvPr>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a:extLst>
              <a:ext uri="{FF2B5EF4-FFF2-40B4-BE49-F238E27FC236}">
                <a16:creationId xmlns:a16="http://schemas.microsoft.com/office/drawing/2014/main" id="{D9E7489A-6B31-34AB-0308-958CA05AC685}"/>
              </a:ext>
            </a:extLst>
          </p:cNvPr>
          <p:cNvSpPr>
            <a:spLocks noGrp="1"/>
          </p:cNvSpPr>
          <p:nvPr>
            <p:ph type="ftr" sz="quarter" idx="11"/>
          </p:nvPr>
        </p:nvSpPr>
        <p:spPr/>
        <p:txBody>
          <a:bodyPr/>
          <a:lstStyle/>
          <a:p>
            <a:pPr algn="l"/>
            <a:r>
              <a:rPr lang="en-US"/>
              <a:t>Illinois Perinatal Quality Collaborative</a:t>
            </a:r>
          </a:p>
        </p:txBody>
      </p:sp>
      <p:pic>
        <p:nvPicPr>
          <p:cNvPr id="6" name="Picture 5" descr="A person holding a baby&#10;&#10;Description automatically generated">
            <a:extLst>
              <a:ext uri="{FF2B5EF4-FFF2-40B4-BE49-F238E27FC236}">
                <a16:creationId xmlns:a16="http://schemas.microsoft.com/office/drawing/2014/main" id="{BD863734-3684-9CAB-7C57-2E74603A9287}"/>
              </a:ext>
            </a:extLst>
          </p:cNvPr>
          <p:cNvPicPr>
            <a:picLocks noChangeAspect="1"/>
          </p:cNvPicPr>
          <p:nvPr/>
        </p:nvPicPr>
        <p:blipFill>
          <a:blip r:embed="rId5"/>
          <a:stretch>
            <a:fillRect/>
          </a:stretch>
        </p:blipFill>
        <p:spPr>
          <a:xfrm>
            <a:off x="758096" y="3134264"/>
            <a:ext cx="4594185" cy="3177397"/>
          </a:xfrm>
          <a:prstGeom prst="rect">
            <a:avLst/>
          </a:prstGeom>
        </p:spPr>
      </p:pic>
      <p:sp>
        <p:nvSpPr>
          <p:cNvPr id="7" name="Oval 6">
            <a:extLst>
              <a:ext uri="{FF2B5EF4-FFF2-40B4-BE49-F238E27FC236}">
                <a16:creationId xmlns:a16="http://schemas.microsoft.com/office/drawing/2014/main" id="{A942DC6C-F66D-94F9-D985-9B736DF49FA2}"/>
              </a:ext>
            </a:extLst>
          </p:cNvPr>
          <p:cNvSpPr/>
          <p:nvPr/>
        </p:nvSpPr>
        <p:spPr>
          <a:xfrm>
            <a:off x="2671402" y="3827881"/>
            <a:ext cx="1365849" cy="704490"/>
          </a:xfrm>
          <a:prstGeom prst="ellipse">
            <a:avLst/>
          </a:prstGeom>
          <a:noFill/>
          <a:ln w="28575">
            <a:solidFill>
              <a:srgbClr val="FF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Left 7">
            <a:extLst>
              <a:ext uri="{FF2B5EF4-FFF2-40B4-BE49-F238E27FC236}">
                <a16:creationId xmlns:a16="http://schemas.microsoft.com/office/drawing/2014/main" id="{D8C816BB-EE4A-48F8-6A8A-CBEBE799E5F6}"/>
              </a:ext>
            </a:extLst>
          </p:cNvPr>
          <p:cNvSpPr/>
          <p:nvPr/>
        </p:nvSpPr>
        <p:spPr>
          <a:xfrm>
            <a:off x="3913786" y="3929151"/>
            <a:ext cx="1538377" cy="488830"/>
          </a:xfrm>
          <a:prstGeom prst="leftArrow">
            <a:avLst/>
          </a:prstGeom>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0609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8</TotalTime>
  <Words>2314</Words>
  <Application>Microsoft Macintosh PowerPoint</Application>
  <PresentationFormat>Widescreen</PresentationFormat>
  <Paragraphs>348</Paragraphs>
  <Slides>40</Slides>
  <Notes>10</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6" baseType="lpstr">
      <vt:lpstr>Arial</vt:lpstr>
      <vt:lpstr>Calibri</vt:lpstr>
      <vt:lpstr>Courier New</vt:lpstr>
      <vt:lpstr>Courier New,monospace</vt:lpstr>
      <vt:lpstr>Helvetica Neue Medium</vt:lpstr>
      <vt:lpstr>Lato</vt:lpstr>
      <vt:lpstr>Lato Medium</vt:lpstr>
      <vt:lpstr>Symbol</vt:lpstr>
      <vt:lpstr>Symbol,Sans-Serif</vt:lpstr>
      <vt:lpstr>Times New Roman</vt:lpstr>
      <vt:lpstr>Verdana</vt:lpstr>
      <vt:lpstr>Wingdings</vt:lpstr>
      <vt:lpstr>Wingdings,Sans-Serif</vt:lpstr>
      <vt:lpstr>1_Office Theme</vt:lpstr>
      <vt:lpstr>2_Office Theme</vt:lpstr>
      <vt:lpstr>think-cell Slide</vt:lpstr>
      <vt:lpstr>ESSI Initiative:  Data Training Webinar </vt:lpstr>
      <vt:lpstr>Data Call Overview</vt:lpstr>
      <vt:lpstr>Welcome Kiela! </vt:lpstr>
      <vt:lpstr>ILPQC Data System (REDCap)</vt:lpstr>
      <vt:lpstr>ILPQC Pillars Support QI Success</vt:lpstr>
      <vt:lpstr>Data is Yours!</vt:lpstr>
      <vt:lpstr>Accessing REDcap</vt:lpstr>
      <vt:lpstr>REDcap Access</vt:lpstr>
      <vt:lpstr>Key Steps when Accessing REDcap</vt:lpstr>
      <vt:lpstr>REDCap Interface Overview</vt:lpstr>
      <vt:lpstr>REDCap Interface Overview</vt:lpstr>
      <vt:lpstr>Participating in multiple ILPQC Initiatives?</vt:lpstr>
      <vt:lpstr>ILPQC ESSI DATA FORMS OVERVIEW</vt:lpstr>
      <vt:lpstr> Two ESSI Data Forms</vt:lpstr>
      <vt:lpstr>Structure Measures</vt:lpstr>
      <vt:lpstr>Structure Measures</vt:lpstr>
      <vt:lpstr>Hospital Level Data form: Structure Measures</vt:lpstr>
      <vt:lpstr>Hospital Level Data form: Structure Measures</vt:lpstr>
      <vt:lpstr>Hospital Level Data form: Structure Measures</vt:lpstr>
      <vt:lpstr>Hospital Level Data form: Structure Measures</vt:lpstr>
      <vt:lpstr>Hospital Level Data form: Structure Measures</vt:lpstr>
      <vt:lpstr>Hospital Level Data form: Structure Measures</vt:lpstr>
      <vt:lpstr>Hospital Level Data Form:  Safe Sleep Environment Audit</vt:lpstr>
      <vt:lpstr>Audit Forms</vt:lpstr>
      <vt:lpstr>Education Measures</vt:lpstr>
      <vt:lpstr>Patient Level Data Form</vt:lpstr>
      <vt:lpstr>Patient Level Data Form</vt:lpstr>
      <vt:lpstr>Patient Level Data Form</vt:lpstr>
      <vt:lpstr>Patient Level Data Form</vt:lpstr>
      <vt:lpstr>Patient Level Data Form</vt:lpstr>
      <vt:lpstr>ESSI Bundle</vt:lpstr>
      <vt:lpstr>Close Out and Save the Form</vt:lpstr>
      <vt:lpstr>Accessing Reports</vt:lpstr>
      <vt:lpstr>Data Collection Timelines</vt:lpstr>
      <vt:lpstr>Upcoming ESSI Meetings</vt:lpstr>
      <vt:lpstr>ESSI 2024 Plan: Jan-June</vt:lpstr>
      <vt:lpstr>What should my ESSI team be working on now?</vt:lpstr>
      <vt:lpstr>Feedback on the Data System</vt:lpstr>
      <vt:lpstr>Q&amp;A  Come off mute or put your questions in the cha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Todd Hilgert</dc:creator>
  <cp:lastModifiedBy>Kiela Karina Moreno</cp:lastModifiedBy>
  <cp:revision>1295</cp:revision>
  <dcterms:created xsi:type="dcterms:W3CDTF">2021-05-17T13:14:11Z</dcterms:created>
  <dcterms:modified xsi:type="dcterms:W3CDTF">2024-07-22T16:21:44Z</dcterms:modified>
</cp:coreProperties>
</file>